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4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6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6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7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0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2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5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7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8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9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0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21" r:id="rId5"/>
    <p:sldMasterId id="2147483800" r:id="rId6"/>
    <p:sldMasterId id="2147484022" r:id="rId7"/>
    <p:sldMasterId id="2147484034" r:id="rId8"/>
  </p:sldMasterIdLst>
  <p:notesMasterIdLst>
    <p:notesMasterId r:id="rId32"/>
  </p:notesMasterIdLst>
  <p:sldIdLst>
    <p:sldId id="1809" r:id="rId9"/>
    <p:sldId id="1949" r:id="rId10"/>
    <p:sldId id="1885" r:id="rId11"/>
    <p:sldId id="1922" r:id="rId12"/>
    <p:sldId id="1923" r:id="rId13"/>
    <p:sldId id="1925" r:id="rId14"/>
    <p:sldId id="1886" r:id="rId15"/>
    <p:sldId id="1926" r:id="rId16"/>
    <p:sldId id="1927" r:id="rId17"/>
    <p:sldId id="1928" r:id="rId18"/>
    <p:sldId id="1929" r:id="rId19"/>
    <p:sldId id="1940" r:id="rId20"/>
    <p:sldId id="1941" r:id="rId21"/>
    <p:sldId id="1887" r:id="rId22"/>
    <p:sldId id="1950" r:id="rId23"/>
    <p:sldId id="1943" r:id="rId24"/>
    <p:sldId id="1944" r:id="rId25"/>
    <p:sldId id="1937" r:id="rId26"/>
    <p:sldId id="1904" r:id="rId27"/>
    <p:sldId id="1952" r:id="rId28"/>
    <p:sldId id="1953" r:id="rId29"/>
    <p:sldId id="1954" r:id="rId30"/>
    <p:sldId id="1955" r:id="rId31"/>
  </p:sldIdLst>
  <p:sldSz cx="12193588" cy="6858000"/>
  <p:notesSz cx="6858000" cy="9144000"/>
  <p:custDataLst>
    <p:tags r:id="rId33"/>
  </p:custDataLst>
  <p:defaultTextStyle>
    <a:defPPr>
      <a:defRPr lang="es-CL"/>
    </a:defPPr>
    <a:lvl1pPr marL="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5M854eF/f5qZzjdQgpHoJA==" hashData="gXtLg/qr9OxGhWEBVr1uAkAUjCMPIRjeuhW78E+CQ6rB0Z51oUL/VYcO6utRwDdEssKV28KV8uyKfRYYuokHEA=="/>
  <p:extLst>
    <p:ext uri="{EFAFB233-063F-42B5-8137-9DF3F51BA10A}">
      <p15:sldGuideLst xmlns:p15="http://schemas.microsoft.com/office/powerpoint/2012/main">
        <p15:guide id="8" pos="3841" userDrawn="1">
          <p15:clr>
            <a:srgbClr val="A4A3A4"/>
          </p15:clr>
        </p15:guide>
        <p15:guide id="9" pos="7401" userDrawn="1">
          <p15:clr>
            <a:srgbClr val="A4A3A4"/>
          </p15:clr>
        </p15:guide>
        <p15:guide id="10" pos="418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662F"/>
    <a:srgbClr val="000000"/>
    <a:srgbClr val="15C047"/>
    <a:srgbClr val="F4F4ED"/>
    <a:srgbClr val="EAEADE"/>
    <a:srgbClr val="8A8A8A"/>
    <a:srgbClr val="8D004C"/>
    <a:srgbClr val="179188"/>
    <a:srgbClr val="004B54"/>
    <a:srgbClr val="0045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96" autoAdjust="0"/>
    <p:restoredTop sz="88789" autoAdjust="0"/>
  </p:normalViewPr>
  <p:slideViewPr>
    <p:cSldViewPr>
      <p:cViewPr varScale="1">
        <p:scale>
          <a:sx n="69" d="100"/>
          <a:sy n="69" d="100"/>
        </p:scale>
        <p:origin x="224" y="40"/>
      </p:cViewPr>
      <p:guideLst>
        <p:guide pos="3841"/>
        <p:guide pos="7401"/>
        <p:guide pos="418"/>
        <p:guide orient="horz" pos="2160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7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3731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0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26122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1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02633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2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39872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3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7768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4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95691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5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93150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6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6684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7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11690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8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809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B7CA1-92AC-534A-96DC-E6CBA5CA8CC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432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44857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B7CA1-92AC-534A-96DC-E6CBA5CA8CC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593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3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53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4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7163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5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0135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6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9966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7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23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8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2636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9</a:t>
            </a:fld>
            <a:endParaRPr lang="es-CL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0158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3.bin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7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4.bin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7.bin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8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9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svg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4.svg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0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49.xml"/><Relationship Id="rId7" Type="http://schemas.openxmlformats.org/officeDocument/2006/relationships/image" Target="../media/image4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6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0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7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4.png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3.jpg"/><Relationship Id="rId4" Type="http://schemas.openxmlformats.org/officeDocument/2006/relationships/image" Target="../media/image34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7.jpg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69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0A6E24E-9F3D-5945-98B9-F4261D7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9" y="1709746"/>
            <a:ext cx="10516969" cy="2852737"/>
          </a:xfrm>
        </p:spPr>
        <p:txBody>
          <a:bodyPr anchor="b"/>
          <a:lstStyle>
            <a:lvl1pPr>
              <a:defRPr sz="5992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285529A-2FAE-FA45-819C-1CEC68F4E7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9" y="4589471"/>
            <a:ext cx="10516969" cy="1500187"/>
          </a:xfrm>
        </p:spPr>
        <p:txBody>
          <a:bodyPr/>
          <a:lstStyle>
            <a:lvl1pPr marL="0" indent="0">
              <a:buNone/>
              <a:defRPr sz="2396">
                <a:solidFill>
                  <a:schemeClr val="tx1">
                    <a:tint val="75000"/>
                  </a:schemeClr>
                </a:solidFill>
              </a:defRPr>
            </a:lvl1pPr>
            <a:lvl2pPr marL="456682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3363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3pPr>
            <a:lvl4pPr marL="1370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7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4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B43511E9-EDCD-A34B-9FE9-DAAA96C30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ABAC7FA-7702-2F4A-A839-40CE19267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507B5360-3C90-B74A-9EFC-E5B5B3F9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681051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2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1208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4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199440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1522" userDrawn="1">
          <p15:clr>
            <a:srgbClr val="FBAE40"/>
          </p15:clr>
        </p15:guide>
        <p15:guide id="4" orient="horz" pos="2705" userDrawn="1">
          <p15:clr>
            <a:srgbClr val="FBAE40"/>
          </p15:clr>
        </p15:guide>
        <p15:guide id="5" orient="horz" pos="920" userDrawn="1">
          <p15:clr>
            <a:srgbClr val="FBAE40"/>
          </p15:clr>
        </p15:guide>
        <p15:guide id="6" orient="horz" pos="1646" userDrawn="1">
          <p15:clr>
            <a:srgbClr val="FBAE40"/>
          </p15:clr>
        </p15:guide>
        <p15:guide id="7" orient="horz" pos="868" userDrawn="1">
          <p15:clr>
            <a:srgbClr val="FBAE40"/>
          </p15:clr>
        </p15:guide>
        <p15:guide id="8" orient="horz" pos="1459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73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27" userDrawn="1">
          <p15:clr>
            <a:srgbClr val="FBAE40"/>
          </p15:clr>
        </p15:guide>
        <p15:guide id="2" orient="horz" pos="3291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74963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12" userDrawn="1">
          <p15:clr>
            <a:srgbClr val="FBAE40"/>
          </p15:clr>
        </p15:guide>
        <p15:guide id="4" pos="251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65458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4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53408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970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4906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60586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76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478C3A-C42D-5E47-A331-FDE9C71C0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0168E356-9573-F142-B06A-2A0F692227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10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3F42313E-41F7-C642-906F-CC0DD60E04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8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7765427-D403-944B-98D3-7ADDF0B85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4CD0E6C-F286-3D4D-91C9-D0F379E20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1EFCC6C5-06B8-4748-B4D2-66D541770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28823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77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48375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2131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88220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326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>
                <a:solidFill>
                  <a:srgbClr val="616161"/>
                </a:solidFill>
              </a:rPr>
              <a:t>Fuente o Pie de página Arial 9</a:t>
            </a:r>
            <a:endParaRPr lang="es-ES_tradnl" dirty="0">
              <a:solidFill>
                <a:srgbClr val="616161"/>
              </a:solidFill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 dirty="0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80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5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974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041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13603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7C9BE3A-C113-F246-861B-ABE569370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365130"/>
            <a:ext cx="10516969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047F12B-21B1-784B-A327-F733D57FFA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8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69E54B02-FA3F-F940-BF3B-610597E71D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9EEA8726-B371-7E42-99BE-CF0F1168A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4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E062E792-6391-B84A-9433-2A8590BF5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4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9D9B00F4-F105-214D-A58B-78C3FA0C5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637FA3A5-63FD-514B-9239-B315A185D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59DF646A-E7D9-774F-8939-D9B9E855C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447555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9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2188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5042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8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2406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1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8826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3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930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orient="horz" pos="834" userDrawn="1">
          <p15:clr>
            <a:srgbClr val="FBAE40"/>
          </p15:clr>
        </p15:guide>
        <p15:guide id="3" orient="horz" pos="1940" userDrawn="1">
          <p15:clr>
            <a:srgbClr val="FBAE40"/>
          </p15:clr>
        </p15:guide>
        <p15:guide id="4" orient="horz" pos="2907" userDrawn="1">
          <p15:clr>
            <a:srgbClr val="FBAE40"/>
          </p15:clr>
        </p15:guide>
        <p15:guide id="5" pos="1146" userDrawn="1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83B727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6471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1972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5331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72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665EF9D-D16E-A64E-8BD3-09BCB6C62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6BE26EA-A8CD-8842-933F-949D4F4CE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ECF64E7F-F27A-1142-8C95-7AFB1D11D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F67096DC-A03C-FA41-8973-685F21DB0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7958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210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4292" userDrawn="1">
          <p15:clr>
            <a:srgbClr val="FBAE40"/>
          </p15:clr>
        </p15:guide>
        <p15:guide id="3" pos="2926" userDrawn="1">
          <p15:clr>
            <a:srgbClr val="FBAE40"/>
          </p15:clr>
        </p15:guide>
        <p15:guide id="4" pos="1561" userDrawn="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2468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8010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8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0990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7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6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538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22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5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31" userDrawn="1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15640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185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92550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825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EE570241-355A-A344-8F43-B9318B4E1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71C64B54-3E7A-B147-8BBB-269A2940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8B20F085-45C2-DC48-B18A-B019E9B0D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446423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278228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212927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7178220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2836089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8346087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283563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122138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9007515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10961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2618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1B4263E-BE80-E442-93F6-0AB0BCAB5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48DC82D-A5D1-C84D-AF8B-BAEEA0AB83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>
              <a:defRPr sz="3196"/>
            </a:lvl1pPr>
            <a:lvl2pPr>
              <a:defRPr sz="2796"/>
            </a:lvl2pPr>
            <a:lvl3pPr>
              <a:defRPr sz="2396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5C49CC57-C6A1-D54E-8A61-96C007D20E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A9FC915-FFA2-F144-88CF-B754E538C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9DE79E84-07C5-754E-AE37-00592C89C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B4FD8097-72D1-A949-B948-F26A7564C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181085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8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60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2246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8231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41113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58487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92997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42789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59734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5297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0635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5CBEC0E-B438-D64A-80A9-C7666B1A2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EA899540-803C-0C43-AA4D-08DD8657E4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 marL="0" indent="0">
              <a:buNone/>
              <a:defRPr sz="3196"/>
            </a:lvl1pPr>
            <a:lvl2pPr marL="456682" indent="0">
              <a:buNone/>
              <a:defRPr sz="2796"/>
            </a:lvl2pPr>
            <a:lvl3pPr marL="913363" indent="0">
              <a:buNone/>
              <a:defRPr sz="2396"/>
            </a:lvl3pPr>
            <a:lvl4pPr marL="1370046" indent="0">
              <a:buNone/>
              <a:defRPr sz="1996"/>
            </a:lvl4pPr>
            <a:lvl5pPr marL="1826726" indent="0">
              <a:buNone/>
              <a:defRPr sz="1996"/>
            </a:lvl5pPr>
            <a:lvl6pPr marL="2283407" indent="0">
              <a:buNone/>
              <a:defRPr sz="1996"/>
            </a:lvl6pPr>
            <a:lvl7pPr marL="2740089" indent="0">
              <a:buNone/>
              <a:defRPr sz="1996"/>
            </a:lvl7pPr>
            <a:lvl8pPr marL="3196769" indent="0">
              <a:buNone/>
              <a:defRPr sz="1996"/>
            </a:lvl8pPr>
            <a:lvl9pPr marL="3653451" indent="0">
              <a:buNone/>
              <a:defRPr sz="1996"/>
            </a:lvl9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5AA703B4-01BE-2D4E-893C-E3F18C2D1C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9FD8E75-EE75-EE4C-BEE9-2DC365228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93D739B-09F0-8842-8EBF-3B3C6D452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4D000A8-F8A7-4743-A651-998A6DED2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1502204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0193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6442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5427" y="2291215"/>
            <a:ext cx="874337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904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5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831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5177791"/>
            <a:ext cx="4261515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386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9318" y="6307025"/>
            <a:ext cx="103979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80" y="1881408"/>
            <a:ext cx="9657385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4103" y="1"/>
            <a:ext cx="2959485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79" y="386738"/>
            <a:ext cx="192307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42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0225" y="4046752"/>
            <a:ext cx="3980344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224" y="2413733"/>
            <a:ext cx="398034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216" y="-130002"/>
            <a:ext cx="8863649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568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79" y="811343"/>
            <a:ext cx="3975111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79" y="2747718"/>
            <a:ext cx="3496690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706" y="0"/>
            <a:ext cx="738788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946684"/>
            <a:ext cx="1223949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07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54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837" y="2512391"/>
            <a:ext cx="4429915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06063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7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44" y="2512392"/>
            <a:ext cx="4429901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2899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E4EF53E-0A25-F749-935D-D8D50DE60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2ACBBAE-76E3-1948-BFE6-DD5FAB9F1B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CC26E5AF-D5F5-7745-A119-C4DB5DFF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0220E68-EE97-AE4A-B0E4-6D89252B3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02935D9-2275-AA45-BD21-727B98073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333730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636" y="1325118"/>
            <a:ext cx="5341623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636" y="4903910"/>
            <a:ext cx="2138990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80006" y="696192"/>
            <a:ext cx="5955008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636" y="5428822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844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409" y="4868685"/>
            <a:ext cx="5864620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409" y="1989316"/>
            <a:ext cx="7793039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2478" y="5477070"/>
            <a:ext cx="138111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9932" y="367978"/>
            <a:ext cx="122571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13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71" y="512764"/>
            <a:ext cx="11342577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658760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76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507" y="3099832"/>
            <a:ext cx="11342576" cy="65833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5058" y="4883057"/>
            <a:ext cx="138111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382" y="1033743"/>
            <a:ext cx="9954824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188" y="5297738"/>
            <a:ext cx="1246637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86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47515E44-5580-CE40-8C8A-630A5D991A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40" y="365126"/>
            <a:ext cx="2629243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00493DAB-3F0B-814D-B310-78CA42CE81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6"/>
            <a:ext cx="7735308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4B10D730-F762-A14F-82F1-9AED87002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DC6B97F-F7E5-2D41-8D56-1E7B0A09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81B1FF36-DCD5-0241-97A1-91DED0056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00298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68203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005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tx1"/>
                </a:solidFill>
              </a:rPr>
              <a:t>Asociación</a:t>
            </a:r>
            <a:r>
              <a:rPr sz="1400" dirty="0">
                <a:solidFill>
                  <a:schemeClr val="tx1"/>
                </a:solidFill>
              </a:rPr>
              <a:t> </a:t>
            </a:r>
            <a:r>
              <a:rPr sz="1400" dirty="0" err="1">
                <a:solidFill>
                  <a:schemeClr val="tx1"/>
                </a:solidFill>
              </a:rPr>
              <a:t>Chilena</a:t>
            </a:r>
            <a:r>
              <a:rPr sz="1400" dirty="0">
                <a:solidFill>
                  <a:schemeClr val="tx1"/>
                </a:solidFill>
              </a:rPr>
              <a:t> de </a:t>
            </a:r>
            <a:r>
              <a:rPr sz="1400" dirty="0" err="1">
                <a:solidFill>
                  <a:schemeClr val="tx1"/>
                </a:solidFill>
              </a:rPr>
              <a:t>Seguridad</a:t>
            </a:r>
            <a:endParaRPr sz="1400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22775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6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rgbClr val="106737"/>
                </a:solidFill>
              </a:rPr>
              <a:t>Asociación</a:t>
            </a:r>
            <a:r>
              <a:rPr sz="1400" dirty="0">
                <a:solidFill>
                  <a:srgbClr val="106737"/>
                </a:solidFill>
              </a:rPr>
              <a:t> </a:t>
            </a:r>
            <a:r>
              <a:rPr sz="1400" dirty="0" err="1">
                <a:solidFill>
                  <a:srgbClr val="106737"/>
                </a:solidFill>
              </a:rPr>
              <a:t>Chilena</a:t>
            </a:r>
            <a:r>
              <a:rPr sz="1400" dirty="0">
                <a:solidFill>
                  <a:srgbClr val="106737"/>
                </a:solidFill>
              </a:rPr>
              <a:t> de </a:t>
            </a:r>
            <a:r>
              <a:rPr sz="1400" dirty="0" err="1">
                <a:solidFill>
                  <a:srgbClr val="106737"/>
                </a:solidFill>
              </a:rPr>
              <a:t>Seguridad</a:t>
            </a:r>
            <a:endParaRPr sz="1400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916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5125" userDrawn="1">
          <p15:clr>
            <a:srgbClr val="FBAE40"/>
          </p15:clr>
        </p15:guide>
        <p15:guide id="4" orient="horz" pos="3176" userDrawn="1">
          <p15:clr>
            <a:srgbClr val="FBAE40"/>
          </p15:clr>
        </p15:guide>
        <p15:guide id="5" orient="horz" pos="6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9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bg2"/>
                </a:solidFill>
              </a:rPr>
              <a:t>Asociación</a:t>
            </a:r>
            <a:r>
              <a:rPr sz="1400" dirty="0">
                <a:solidFill>
                  <a:schemeClr val="bg2"/>
                </a:solidFill>
              </a:rPr>
              <a:t> </a:t>
            </a:r>
            <a:r>
              <a:rPr sz="1400" dirty="0" err="1">
                <a:solidFill>
                  <a:schemeClr val="bg2"/>
                </a:solidFill>
              </a:rPr>
              <a:t>Chilena</a:t>
            </a:r>
            <a:r>
              <a:rPr sz="1400" dirty="0">
                <a:solidFill>
                  <a:schemeClr val="bg2"/>
                </a:solidFill>
              </a:rPr>
              <a:t> de </a:t>
            </a:r>
            <a:r>
              <a:rPr sz="1400" dirty="0" err="1">
                <a:solidFill>
                  <a:schemeClr val="bg2"/>
                </a:solidFill>
              </a:rPr>
              <a:t>Seguridad</a:t>
            </a:r>
            <a:endParaRPr sz="1400" dirty="0">
              <a:solidFill>
                <a:schemeClr val="bg2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marL="0" marR="0" indent="0" algn="l" defTabSz="2435572" rtl="0" fontAlgn="auto" latinLnBrk="0" hangingPunct="0">
              <a:lnSpc>
                <a:spcPct val="90000"/>
              </a:lnSpc>
              <a:spcBef>
                <a:spcPts val="4496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4796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6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accent1"/>
                </a:solidFill>
              </a:rPr>
              <a:t>Asociación</a:t>
            </a:r>
            <a:r>
              <a:rPr sz="1400" dirty="0">
                <a:solidFill>
                  <a:schemeClr val="accent1"/>
                </a:solidFill>
              </a:rPr>
              <a:t> </a:t>
            </a:r>
            <a:r>
              <a:rPr sz="1400" dirty="0" err="1">
                <a:solidFill>
                  <a:schemeClr val="accent1"/>
                </a:solidFill>
              </a:rPr>
              <a:t>Chilena</a:t>
            </a:r>
            <a:r>
              <a:rPr sz="1400" dirty="0">
                <a:solidFill>
                  <a:schemeClr val="accent1"/>
                </a:solidFill>
              </a:rPr>
              <a:t> de </a:t>
            </a:r>
            <a:r>
              <a:rPr sz="1400" dirty="0" err="1">
                <a:solidFill>
                  <a:schemeClr val="accent1"/>
                </a:solidFill>
              </a:rPr>
              <a:t>Seguridad</a:t>
            </a:r>
            <a:endParaRPr sz="1400" dirty="0">
              <a:solidFill>
                <a:schemeClr val="accent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79642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493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2736" userDrawn="1">
          <p15:clr>
            <a:srgbClr val="FBAE40"/>
          </p15:clr>
        </p15:guide>
        <p15:guide id="4" pos="2559" userDrawn="1">
          <p15:clr>
            <a:srgbClr val="FBAE40"/>
          </p15:clr>
        </p15:guide>
        <p15:guide id="5" orient="horz" pos="26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0536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=""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9821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087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1522" userDrawn="1">
          <p15:clr>
            <a:srgbClr val="FBAE40"/>
          </p15:clr>
        </p15:guide>
        <p15:guide id="6" orient="horz" pos="2705" userDrawn="1">
          <p15:clr>
            <a:srgbClr val="FBAE40"/>
          </p15:clr>
        </p15:guide>
        <p15:guide id="7" orient="horz" pos="920" userDrawn="1">
          <p15:clr>
            <a:srgbClr val="FBAE40"/>
          </p15:clr>
        </p15:guide>
        <p15:guide id="8" orient="horz" pos="1646" userDrawn="1">
          <p15:clr>
            <a:srgbClr val="FBAE40"/>
          </p15:clr>
        </p15:guide>
        <p15:guide id="9" orient="horz" pos="868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9041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427" userDrawn="1">
          <p15:clr>
            <a:srgbClr val="FBAE40"/>
          </p15:clr>
        </p15:guide>
        <p15:guide id="9" orient="horz" pos="329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28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212" userDrawn="1">
          <p15:clr>
            <a:srgbClr val="FBAE40"/>
          </p15:clr>
        </p15:guide>
        <p15:guide id="5" pos="2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637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85372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62768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316668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7326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635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0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18524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1645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627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bg>
      <p:bgPr>
        <a:solidFill>
          <a:srgbClr val="0C6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1577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98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/>
              <a:t>Fuente o Pie de página Arial 9</a:t>
            </a:r>
            <a:endParaRPr lang="es-ES_tradn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503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2560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617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8750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93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9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1530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5457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3487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83B8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6668453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619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75946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orient="horz" pos="834" userDrawn="1">
          <p15:clr>
            <a:srgbClr val="FBAE40"/>
          </p15:clr>
        </p15:guide>
        <p15:guide id="4" orient="horz" pos="1940" userDrawn="1">
          <p15:clr>
            <a:srgbClr val="FBAE40"/>
          </p15:clr>
        </p15:guide>
        <p15:guide id="5" orient="horz" pos="2907" userDrawn="1">
          <p15:clr>
            <a:srgbClr val="FBAE40"/>
          </p15:clr>
        </p15:guide>
        <p15:guide id="6" pos="1146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4023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6589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4413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73233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019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4292" userDrawn="1">
          <p15:clr>
            <a:srgbClr val="FBAE40"/>
          </p15:clr>
        </p15:guide>
        <p15:guide id="4" pos="2926" userDrawn="1">
          <p15:clr>
            <a:srgbClr val="FBAE40"/>
          </p15:clr>
        </p15:guide>
        <p15:guide id="5" pos="1561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954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/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98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8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470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7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11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792739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01090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2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1685935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31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6844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787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915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34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50562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18756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27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70161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4517951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23156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31406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532171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6181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597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1207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90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496863" y="0"/>
            <a:ext cx="734386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83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-1247066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096794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5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495E-6 -3.7037E-7 L 0.2715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6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animBg="1"/>
      <p:bldP spid="15" grpId="0" animBg="1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636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FDB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645024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0CCCE32A-0599-45EA-B81F-3A370EA4CA18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01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4774" y="0"/>
            <a:ext cx="5088814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702" y="448410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42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490" y="4406903"/>
            <a:ext cx="10365026" cy="1362075"/>
          </a:xfrm>
          <a:prstGeom prst="rect">
            <a:avLst/>
          </a:prstGeom>
        </p:spPr>
        <p:txBody>
          <a:bodyPr anchor="t"/>
          <a:lstStyle>
            <a:lvl1pPr algn="l">
              <a:defRPr sz="3998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490" y="2906714"/>
            <a:ext cx="10365026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1pPr>
            <a:lvl2pPr marL="45695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39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2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6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385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1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985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540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2" y="1535113"/>
            <a:ext cx="538727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2" y="2174875"/>
            <a:ext cx="5387274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19" y="1535113"/>
            <a:ext cx="539044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19" y="2174875"/>
            <a:ext cx="5390448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288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654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506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3" y="273050"/>
            <a:ext cx="4011091" cy="1162050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44" y="273053"/>
            <a:ext cx="6817425" cy="5853113"/>
          </a:xfrm>
          <a:prstGeom prst="rect">
            <a:avLst/>
          </a:prstGeo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398"/>
            </a:lvl3pPr>
            <a:lvl4pPr>
              <a:defRPr sz="1998"/>
            </a:lvl4pPr>
            <a:lvl5pPr>
              <a:defRPr sz="1998"/>
            </a:lvl5pPr>
            <a:lvl6pPr>
              <a:defRPr sz="1998"/>
            </a:lvl6pPr>
            <a:lvl7pPr>
              <a:defRPr sz="1998"/>
            </a:lvl7pPr>
            <a:lvl8pPr>
              <a:defRPr sz="1998"/>
            </a:lvl8pPr>
            <a:lvl9pPr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3" y="1435102"/>
            <a:ext cx="4011091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23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65" y="4800600"/>
            <a:ext cx="7315836" cy="566738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65" y="612775"/>
            <a:ext cx="7315836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8"/>
            </a:lvl1pPr>
            <a:lvl2pPr marL="456956" indent="0">
              <a:buNone/>
              <a:defRPr sz="2798"/>
            </a:lvl2pPr>
            <a:lvl3pPr marL="913911" indent="0">
              <a:buNone/>
              <a:defRPr sz="2398"/>
            </a:lvl3pPr>
            <a:lvl4pPr marL="1370867" indent="0">
              <a:buNone/>
              <a:defRPr sz="1998"/>
            </a:lvl4pPr>
            <a:lvl5pPr marL="1827822" indent="0">
              <a:buNone/>
              <a:defRPr sz="1998"/>
            </a:lvl5pPr>
            <a:lvl6pPr marL="2284777" indent="0">
              <a:buNone/>
              <a:defRPr sz="1998"/>
            </a:lvl6pPr>
            <a:lvl7pPr marL="2741733" indent="0">
              <a:buNone/>
              <a:defRPr sz="1998"/>
            </a:lvl7pPr>
            <a:lvl8pPr marL="3198689" indent="0">
              <a:buNone/>
              <a:defRPr sz="1998"/>
            </a:lvl8pPr>
            <a:lvl9pPr marL="3655644" indent="0">
              <a:buNone/>
              <a:defRPr sz="1998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65" y="5367338"/>
            <a:ext cx="7315836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396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2" y="1600203"/>
            <a:ext cx="1097454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85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27FC5C6-A3C9-B245-94AB-13439C597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50" y="-19139"/>
            <a:ext cx="12263906" cy="691757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19171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1224" y="274641"/>
            <a:ext cx="2742843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3" y="274641"/>
            <a:ext cx="8079323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782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>
                <a:solidFill>
                  <a:srgbClr val="0C662F"/>
                </a:solidFill>
              </a:rPr>
              <a:pPr/>
              <a:t>04-02-2025</a:t>
            </a:fld>
            <a:endParaRPr lang="es-CL">
              <a:solidFill>
                <a:srgbClr val="0C662F"/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616161"/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>
                <a:solidFill>
                  <a:srgbClr val="0C662F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C662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546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D6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4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6643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1651" y="1983139"/>
            <a:ext cx="10018856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lang="es-CL" sz="3596" b="1" kern="1200" spc="-15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7573" y="441325"/>
            <a:ext cx="635082" cy="635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1650" y="1983138"/>
            <a:ext cx="6285581" cy="99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3966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02689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609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01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10673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93885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5125" userDrawn="1">
          <p15:clr>
            <a:srgbClr val="FBAE40"/>
          </p15:clr>
        </p15:guide>
        <p15:guide id="3" orient="horz" pos="3176" userDrawn="1">
          <p15:clr>
            <a:srgbClr val="FBAE40"/>
          </p15:clr>
        </p15:guide>
        <p15:guide id="4" orient="horz" pos="609" userDrawn="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2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defTabSz="2435572" hangingPunct="0">
              <a:lnSpc>
                <a:spcPct val="90000"/>
              </a:lnSpc>
              <a:spcBef>
                <a:spcPts val="4496"/>
              </a:spcBef>
            </a:pPr>
            <a:r>
              <a:rPr lang="es-CL" sz="4796" dirty="0">
                <a:solidFill>
                  <a:srgbClr val="000000"/>
                </a:solidFill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17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ES_tradn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0857D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algn="ctr" defTabSz="824562" hangingPunct="0"/>
            <a:endParaRPr lang="es-ES_tradnl" sz="3196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789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7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1499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2736" userDrawn="1">
          <p15:clr>
            <a:srgbClr val="FBAE40"/>
          </p15:clr>
        </p15:guide>
        <p15:guide id="3" pos="2559" userDrawn="1">
          <p15:clr>
            <a:srgbClr val="FBAE40"/>
          </p15:clr>
        </p15:guide>
        <p15:guide id="4" orient="horz" pos="26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  <a:prstGeom prst="rect">
            <a:avLst/>
          </a:prstGeo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87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63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69.xml"/><Relationship Id="rId76" Type="http://schemas.openxmlformats.org/officeDocument/2006/relationships/theme" Target="../theme/theme2.xml"/><Relationship Id="rId7" Type="http://schemas.openxmlformats.org/officeDocument/2006/relationships/slideLayout" Target="../slideLayouts/slideLayout8.xml"/><Relationship Id="rId71" Type="http://schemas.openxmlformats.org/officeDocument/2006/relationships/slideLayout" Target="../slideLayouts/slideLayout72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66" Type="http://schemas.openxmlformats.org/officeDocument/2006/relationships/slideLayout" Target="../slideLayouts/slideLayout67.xml"/><Relationship Id="rId74" Type="http://schemas.openxmlformats.org/officeDocument/2006/relationships/slideLayout" Target="../slideLayouts/slideLayout75.xml"/><Relationship Id="rId79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61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74.xml"/><Relationship Id="rId78" Type="http://schemas.openxmlformats.org/officeDocument/2006/relationships/tags" Target="../tags/tag3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70.xml"/><Relationship Id="rId77" Type="http://schemas.openxmlformats.org/officeDocument/2006/relationships/vmlDrawing" Target="../drawings/vmlDrawing2.vml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72" Type="http://schemas.openxmlformats.org/officeDocument/2006/relationships/slideLayout" Target="../slideLayouts/slideLayout73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76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42" Type="http://schemas.openxmlformats.org/officeDocument/2006/relationships/slideLayout" Target="../slideLayouts/slideLayout118.xml"/><Relationship Id="rId47" Type="http://schemas.openxmlformats.org/officeDocument/2006/relationships/slideLayout" Target="../slideLayouts/slideLayout123.xml"/><Relationship Id="rId50" Type="http://schemas.openxmlformats.org/officeDocument/2006/relationships/slideLayout" Target="../slideLayouts/slideLayout126.xml"/><Relationship Id="rId55" Type="http://schemas.openxmlformats.org/officeDocument/2006/relationships/slideLayout" Target="../slideLayouts/slideLayout131.xml"/><Relationship Id="rId63" Type="http://schemas.openxmlformats.org/officeDocument/2006/relationships/slideLayout" Target="../slideLayouts/slideLayout139.xml"/><Relationship Id="rId68" Type="http://schemas.openxmlformats.org/officeDocument/2006/relationships/slideLayout" Target="../slideLayouts/slideLayout144.xml"/><Relationship Id="rId76" Type="http://schemas.openxmlformats.org/officeDocument/2006/relationships/vmlDrawing" Target="../drawings/vmlDrawing21.vml"/><Relationship Id="rId7" Type="http://schemas.openxmlformats.org/officeDocument/2006/relationships/slideLayout" Target="../slideLayouts/slideLayout83.xml"/><Relationship Id="rId71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slideLayout" Target="../slideLayouts/slideLayout116.xml"/><Relationship Id="rId45" Type="http://schemas.openxmlformats.org/officeDocument/2006/relationships/slideLayout" Target="../slideLayouts/slideLayout121.xml"/><Relationship Id="rId53" Type="http://schemas.openxmlformats.org/officeDocument/2006/relationships/slideLayout" Target="../slideLayouts/slideLayout129.xml"/><Relationship Id="rId58" Type="http://schemas.openxmlformats.org/officeDocument/2006/relationships/slideLayout" Target="../slideLayouts/slideLayout134.xml"/><Relationship Id="rId66" Type="http://schemas.openxmlformats.org/officeDocument/2006/relationships/slideLayout" Target="../slideLayouts/slideLayout142.xml"/><Relationship Id="rId74" Type="http://schemas.openxmlformats.org/officeDocument/2006/relationships/slideLayout" Target="../slideLayouts/slideLayout150.xml"/><Relationship Id="rId79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61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4" Type="http://schemas.openxmlformats.org/officeDocument/2006/relationships/slideLayout" Target="../slideLayouts/slideLayout120.xml"/><Relationship Id="rId52" Type="http://schemas.openxmlformats.org/officeDocument/2006/relationships/slideLayout" Target="../slideLayouts/slideLayout128.xml"/><Relationship Id="rId60" Type="http://schemas.openxmlformats.org/officeDocument/2006/relationships/slideLayout" Target="../slideLayouts/slideLayout136.xml"/><Relationship Id="rId65" Type="http://schemas.openxmlformats.org/officeDocument/2006/relationships/slideLayout" Target="../slideLayouts/slideLayout141.xml"/><Relationship Id="rId73" Type="http://schemas.openxmlformats.org/officeDocument/2006/relationships/slideLayout" Target="../slideLayouts/slideLayout149.xml"/><Relationship Id="rId78" Type="http://schemas.openxmlformats.org/officeDocument/2006/relationships/oleObject" Target="../embeddings/oleObject21.bin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Relationship Id="rId43" Type="http://schemas.openxmlformats.org/officeDocument/2006/relationships/slideLayout" Target="../slideLayouts/slideLayout119.xml"/><Relationship Id="rId48" Type="http://schemas.openxmlformats.org/officeDocument/2006/relationships/slideLayout" Target="../slideLayouts/slideLayout124.xml"/><Relationship Id="rId56" Type="http://schemas.openxmlformats.org/officeDocument/2006/relationships/slideLayout" Target="../slideLayouts/slideLayout132.xml"/><Relationship Id="rId64" Type="http://schemas.openxmlformats.org/officeDocument/2006/relationships/slideLayout" Target="../slideLayouts/slideLayout140.xml"/><Relationship Id="rId69" Type="http://schemas.openxmlformats.org/officeDocument/2006/relationships/slideLayout" Target="../slideLayouts/slideLayout145.xml"/><Relationship Id="rId77" Type="http://schemas.openxmlformats.org/officeDocument/2006/relationships/tags" Target="../tags/tag22.xml"/><Relationship Id="rId8" Type="http://schemas.openxmlformats.org/officeDocument/2006/relationships/slideLayout" Target="../slideLayouts/slideLayout84.xml"/><Relationship Id="rId51" Type="http://schemas.openxmlformats.org/officeDocument/2006/relationships/slideLayout" Target="../slideLayouts/slideLayout127.xml"/><Relationship Id="rId72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46" Type="http://schemas.openxmlformats.org/officeDocument/2006/relationships/slideLayout" Target="../slideLayouts/slideLayout122.xml"/><Relationship Id="rId59" Type="http://schemas.openxmlformats.org/officeDocument/2006/relationships/slideLayout" Target="../slideLayouts/slideLayout135.xml"/><Relationship Id="rId67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96.xml"/><Relationship Id="rId41" Type="http://schemas.openxmlformats.org/officeDocument/2006/relationships/slideLayout" Target="../slideLayouts/slideLayout117.xml"/><Relationship Id="rId54" Type="http://schemas.openxmlformats.org/officeDocument/2006/relationships/slideLayout" Target="../slideLayouts/slideLayout130.xml"/><Relationship Id="rId62" Type="http://schemas.openxmlformats.org/officeDocument/2006/relationships/slideLayout" Target="../slideLayouts/slideLayout138.xml"/><Relationship Id="rId70" Type="http://schemas.openxmlformats.org/officeDocument/2006/relationships/slideLayout" Target="../slideLayouts/slideLayout146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49" Type="http://schemas.openxmlformats.org/officeDocument/2006/relationships/slideLayout" Target="../slideLayouts/slideLayout125.xml"/><Relationship Id="rId57" Type="http://schemas.openxmlformats.org/officeDocument/2006/relationships/slideLayout" Target="../slideLayouts/slideLayout1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5.xml"/><Relationship Id="rId18" Type="http://schemas.openxmlformats.org/officeDocument/2006/relationships/image" Target="../media/image38.emf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oleObject" Target="../embeddings/oleObject40.bin"/><Relationship Id="rId2" Type="http://schemas.openxmlformats.org/officeDocument/2006/relationships/slideLayout" Target="../slideLayouts/slideLayout163.xml"/><Relationship Id="rId16" Type="http://schemas.openxmlformats.org/officeDocument/2006/relationships/tags" Target="../tags/tag42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tags" Target="../tags/tag41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vmlDrawing" Target="../drawings/vmlDrawing4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1095944"/>
              </p:ext>
            </p:extLst>
          </p:nvPr>
        </p:nvGraphicFramePr>
        <p:xfrm>
          <a:off x="1210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8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0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322" y="274563"/>
            <a:ext cx="1097494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322" y="1600202"/>
            <a:ext cx="10974946" cy="4526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321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083" y="6356049"/>
            <a:ext cx="3861423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8380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35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107"/>
          </a:p>
        </p:txBody>
      </p:sp>
      <p:pic>
        <p:nvPicPr>
          <p:cNvPr id="8" name="Picture 7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1918" y="302382"/>
            <a:ext cx="723047" cy="71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9103747" y="6487184"/>
            <a:ext cx="2845888" cy="365276"/>
          </a:xfrm>
          <a:prstGeom prst="rect">
            <a:avLst/>
          </a:prstGeom>
        </p:spPr>
        <p:txBody>
          <a:bodyPr vert="horz" lIns="68808" tIns="34405" rIns="68808" bIns="34405" rtlCol="0" anchor="ctr"/>
          <a:lstStyle>
            <a:defPPr>
              <a:defRPr lang="es-CL"/>
            </a:defPPr>
            <a:lvl1pPr marL="0" algn="r" defTabSz="1440180" rtl="0" eaLnBrk="1" latinLnBrk="0" hangingPunct="1">
              <a:defRPr sz="2400" kern="1200">
                <a:solidFill>
                  <a:srgbClr val="FF3399"/>
                </a:solidFill>
                <a:latin typeface="Tw Cen MT" pitchFamily="34" charset="0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2FB80-0D90-44FD-B9C0-03B43FA6E588}" type="slidenum">
              <a:rPr lang="es-CL" sz="1505" b="1" smtClean="0"/>
              <a:pPr/>
              <a:t>‹Nº›</a:t>
            </a:fld>
            <a:endParaRPr lang="es-CL" sz="1505" b="1" dirty="0"/>
          </a:p>
        </p:txBody>
      </p:sp>
    </p:spTree>
    <p:extLst>
      <p:ext uri="{BB962C8B-B14F-4D97-AF65-F5344CB8AC3E}">
        <p14:creationId xmlns:p14="http://schemas.microsoft.com/office/powerpoint/2010/main" val="158362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hdr="0" dt="0"/>
  <p:txStyles>
    <p:titleStyle>
      <a:lvl1pPr algn="ctr" defTabSz="688112" rtl="0" eaLnBrk="1" latinLnBrk="0" hangingPunct="1">
        <a:spcBef>
          <a:spcPct val="0"/>
        </a:spcBef>
        <a:buNone/>
        <a:defRPr sz="3311" kern="1200">
          <a:solidFill>
            <a:schemeClr val="tx1"/>
          </a:solidFill>
          <a:latin typeface="Tw Cen MT" pitchFamily="34" charset="0"/>
          <a:ea typeface="+mj-ea"/>
          <a:cs typeface="+mj-cs"/>
        </a:defRPr>
      </a:lvl1pPr>
    </p:titleStyle>
    <p:bodyStyle>
      <a:lvl1pPr marL="258042" indent="-258042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408" kern="1200">
          <a:solidFill>
            <a:schemeClr val="tx1"/>
          </a:solidFill>
          <a:latin typeface="Tw Cen MT" pitchFamily="34" charset="0"/>
          <a:ea typeface="+mn-ea"/>
          <a:cs typeface="+mn-cs"/>
        </a:defRPr>
      </a:lvl1pPr>
      <a:lvl2pPr marL="559091" indent="-215035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107" kern="1200">
          <a:solidFill>
            <a:schemeClr val="tx1"/>
          </a:solidFill>
          <a:latin typeface="Tw Cen MT" pitchFamily="34" charset="0"/>
          <a:ea typeface="+mn-ea"/>
          <a:cs typeface="+mn-cs"/>
        </a:defRPr>
      </a:lvl2pPr>
      <a:lvl3pPr marL="860140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806" kern="1200">
          <a:solidFill>
            <a:schemeClr val="tx1"/>
          </a:solidFill>
          <a:latin typeface="Tw Cen MT" pitchFamily="34" charset="0"/>
          <a:ea typeface="+mn-ea"/>
          <a:cs typeface="+mn-cs"/>
        </a:defRPr>
      </a:lvl3pPr>
      <a:lvl4pPr marL="1204197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1548252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1892308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6pPr>
      <a:lvl7pPr marL="2236365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7pPr>
      <a:lvl8pPr marL="2580420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8pPr>
      <a:lvl9pPr marL="2924477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1pPr>
      <a:lvl2pPr marL="344056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2pPr>
      <a:lvl3pPr marL="688112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3pPr>
      <a:lvl4pPr marL="1032168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4pPr>
      <a:lvl5pPr marL="1376225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5pPr>
      <a:lvl6pPr marL="172028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6pPr>
      <a:lvl7pPr marL="2064337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7pPr>
      <a:lvl8pPr marL="2408393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8pPr>
      <a:lvl9pPr marL="2752449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125415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9" name="Diapositiva de think-cell" r:id="rId79" imgW="415" imgH="416" progId="TCLayout.ActiveDocument.1">
                  <p:embed/>
                </p:oleObj>
              </mc:Choice>
              <mc:Fallback>
                <p:oleObj name="Diapositiva de think-cell" r:id="rId79" imgW="415" imgH="41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3FDF6499-BF75-2B43-873E-5F8A11B0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10" y="365130"/>
            <a:ext cx="1051696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AE4DACB6-C16E-AD4D-A050-D8371C5A5F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10" y="1825625"/>
            <a:ext cx="105169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A4EF3D5B-E3F7-9F4F-A990-962CE7AE3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B3C94-6D56-164E-BA24-E6E2F14D2128}" type="datetimeFigureOut">
              <a:rPr lang="es-CL" smtClean="0"/>
              <a:t>04-0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248991B7-C8D3-BA4C-977D-6C4B10D1ED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8"/>
            <a:ext cx="41153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CC28B88-4B6B-1549-9AC7-3FB21D7B0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3AE60-A720-A443-B80B-BB7E1A5C899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78818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4017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56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63" r:id="rId42"/>
    <p:sldLayoutId id="2147483764" r:id="rId43"/>
    <p:sldLayoutId id="2147483765" r:id="rId44"/>
    <p:sldLayoutId id="2147483766" r:id="rId45"/>
    <p:sldLayoutId id="2147483767" r:id="rId46"/>
    <p:sldLayoutId id="2147483768" r:id="rId47"/>
    <p:sldLayoutId id="2147483769" r:id="rId48"/>
    <p:sldLayoutId id="2147483770" r:id="rId49"/>
    <p:sldLayoutId id="2147483771" r:id="rId50"/>
    <p:sldLayoutId id="2147483772" r:id="rId51"/>
    <p:sldLayoutId id="2147483773" r:id="rId52"/>
    <p:sldLayoutId id="2147483774" r:id="rId53"/>
    <p:sldLayoutId id="2147483775" r:id="rId54"/>
    <p:sldLayoutId id="2147483776" r:id="rId55"/>
    <p:sldLayoutId id="2147483777" r:id="rId56"/>
    <p:sldLayoutId id="2147483778" r:id="rId57"/>
    <p:sldLayoutId id="2147483779" r:id="rId58"/>
    <p:sldLayoutId id="2147483780" r:id="rId59"/>
    <p:sldLayoutId id="2147483781" r:id="rId60"/>
    <p:sldLayoutId id="2147483782" r:id="rId61"/>
    <p:sldLayoutId id="2147483783" r:id="rId62"/>
    <p:sldLayoutId id="2147483784" r:id="rId63"/>
    <p:sldLayoutId id="2147483785" r:id="rId64"/>
    <p:sldLayoutId id="2147483786" r:id="rId65"/>
    <p:sldLayoutId id="2147483787" r:id="rId66"/>
    <p:sldLayoutId id="2147483788" r:id="rId67"/>
    <p:sldLayoutId id="2147483790" r:id="rId68"/>
    <p:sldLayoutId id="2147483791" r:id="rId69"/>
    <p:sldLayoutId id="2147483792" r:id="rId70"/>
    <p:sldLayoutId id="2147483793" r:id="rId71"/>
    <p:sldLayoutId id="2147483794" r:id="rId72"/>
    <p:sldLayoutId id="2147483795" r:id="rId73"/>
    <p:sldLayoutId id="2147483796" r:id="rId74"/>
    <p:sldLayoutId id="2147483798" r:id="rId75"/>
  </p:sldLayoutIdLst>
  <p:txStyles>
    <p:titleStyle>
      <a:lvl1pPr algn="l" defTabSz="91336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39" indent="-228339" algn="l" defTabSz="913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6" kern="1200">
          <a:solidFill>
            <a:schemeClr val="tx1"/>
          </a:solidFill>
          <a:latin typeface="+mn-lt"/>
          <a:ea typeface="+mn-ea"/>
          <a:cs typeface="+mn-cs"/>
        </a:defRPr>
      </a:lvl1pPr>
      <a:lvl2pPr marL="68502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141703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8385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2055066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511748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9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42511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88179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682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3363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7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3451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7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7" name="Diapositiva de think-cell" r:id="rId78" imgW="415" imgH="416" progId="TCLayout.ActiveDocument.1">
                  <p:embed/>
                </p:oleObj>
              </mc:Choice>
              <mc:Fallback>
                <p:oleObj name="Diapositiva de think-cell" r:id="rId78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616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4018" r:id="rId15"/>
    <p:sldLayoutId id="2147484019" r:id="rId16"/>
    <p:sldLayoutId id="2147484020" r:id="rId17"/>
    <p:sldLayoutId id="2147483955" r:id="rId18"/>
    <p:sldLayoutId id="2147483956" r:id="rId19"/>
    <p:sldLayoutId id="2147483957" r:id="rId20"/>
    <p:sldLayoutId id="2147483958" r:id="rId21"/>
    <p:sldLayoutId id="2147483959" r:id="rId22"/>
    <p:sldLayoutId id="2147483960" r:id="rId23"/>
    <p:sldLayoutId id="2147483961" r:id="rId24"/>
    <p:sldLayoutId id="2147483962" r:id="rId25"/>
    <p:sldLayoutId id="2147483963" r:id="rId26"/>
    <p:sldLayoutId id="2147483964" r:id="rId27"/>
    <p:sldLayoutId id="2147483965" r:id="rId28"/>
    <p:sldLayoutId id="2147483966" r:id="rId29"/>
    <p:sldLayoutId id="2147483967" r:id="rId30"/>
    <p:sldLayoutId id="2147483968" r:id="rId31"/>
    <p:sldLayoutId id="2147483969" r:id="rId32"/>
    <p:sldLayoutId id="2147483970" r:id="rId33"/>
    <p:sldLayoutId id="2147483971" r:id="rId34"/>
    <p:sldLayoutId id="2147483972" r:id="rId35"/>
    <p:sldLayoutId id="2147483973" r:id="rId36"/>
    <p:sldLayoutId id="2147483974" r:id="rId37"/>
    <p:sldLayoutId id="2147483975" r:id="rId38"/>
    <p:sldLayoutId id="2147483976" r:id="rId39"/>
    <p:sldLayoutId id="2147483977" r:id="rId40"/>
    <p:sldLayoutId id="2147483978" r:id="rId41"/>
    <p:sldLayoutId id="2147483979" r:id="rId42"/>
    <p:sldLayoutId id="2147483980" r:id="rId43"/>
    <p:sldLayoutId id="2147483981" r:id="rId44"/>
    <p:sldLayoutId id="2147483982" r:id="rId45"/>
    <p:sldLayoutId id="2147483983" r:id="rId46"/>
    <p:sldLayoutId id="2147483984" r:id="rId47"/>
    <p:sldLayoutId id="2147483985" r:id="rId48"/>
    <p:sldLayoutId id="2147483986" r:id="rId49"/>
    <p:sldLayoutId id="2147483987" r:id="rId50"/>
    <p:sldLayoutId id="2147483988" r:id="rId51"/>
    <p:sldLayoutId id="2147483989" r:id="rId52"/>
    <p:sldLayoutId id="2147483990" r:id="rId53"/>
    <p:sldLayoutId id="2147483991" r:id="rId54"/>
    <p:sldLayoutId id="2147483992" r:id="rId55"/>
    <p:sldLayoutId id="2147483993" r:id="rId56"/>
    <p:sldLayoutId id="2147483994" r:id="rId57"/>
    <p:sldLayoutId id="2147483995" r:id="rId58"/>
    <p:sldLayoutId id="2147483996" r:id="rId59"/>
    <p:sldLayoutId id="2147483997" r:id="rId60"/>
    <p:sldLayoutId id="2147483998" r:id="rId61"/>
    <p:sldLayoutId id="2147483999" r:id="rId62"/>
    <p:sldLayoutId id="2147484000" r:id="rId63"/>
    <p:sldLayoutId id="2147484001" r:id="rId64"/>
    <p:sldLayoutId id="2147484002" r:id="rId65"/>
    <p:sldLayoutId id="2147484003" r:id="rId66"/>
    <p:sldLayoutId id="2147484005" r:id="rId67"/>
    <p:sldLayoutId id="2147484006" r:id="rId68"/>
    <p:sldLayoutId id="2147484007" r:id="rId69"/>
    <p:sldLayoutId id="2147484008" r:id="rId70"/>
    <p:sldLayoutId id="2147484009" r:id="rId71"/>
    <p:sldLayoutId id="2147484010" r:id="rId72"/>
    <p:sldLayoutId id="2147484011" r:id="rId73"/>
    <p:sldLayoutId id="2147484013" r:id="rId74"/>
  </p:sldLayoutIdLst>
  <p:txStyles>
    <p:titleStyle>
      <a:lvl1pPr algn="ctr" defTabSz="913911" rtl="0" eaLnBrk="1" latinLnBrk="0" hangingPunct="1"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16" indent="-342716" algn="l" defTabSz="913911" rtl="0" eaLnBrk="1" latinLnBrk="0" hangingPunct="1">
        <a:spcBef>
          <a:spcPct val="20000"/>
        </a:spcBef>
        <a:buFont typeface="Arial" pitchFamily="34" charset="0"/>
        <a:buChar char="•"/>
        <a:defRPr sz="3198" kern="1200">
          <a:solidFill>
            <a:schemeClr val="tx1"/>
          </a:solidFill>
          <a:latin typeface="+mn-lt"/>
          <a:ea typeface="+mn-ea"/>
          <a:cs typeface="+mn-cs"/>
        </a:defRPr>
      </a:lvl1pPr>
      <a:lvl2pPr marL="742552" indent="-285597" algn="l" defTabSz="913911" rtl="0" eaLnBrk="1" latinLnBrk="0" hangingPunct="1">
        <a:spcBef>
          <a:spcPct val="20000"/>
        </a:spcBef>
        <a:buFont typeface="Arial" pitchFamily="34" charset="0"/>
        <a:buChar char="–"/>
        <a:defRPr sz="27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389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599345" indent="-228477" algn="l" defTabSz="913911" rtl="0" eaLnBrk="1" latinLnBrk="0" hangingPunct="1">
        <a:spcBef>
          <a:spcPct val="20000"/>
        </a:spcBef>
        <a:buFont typeface="Arial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56300" indent="-228477" algn="l" defTabSz="913911" rtl="0" eaLnBrk="1" latinLnBrk="0" hangingPunct="1">
        <a:spcBef>
          <a:spcPct val="20000"/>
        </a:spcBef>
        <a:buFont typeface="Arial" pitchFamily="34" charset="0"/>
        <a:buChar char="»"/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1325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210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716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4122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11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6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2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7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733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89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644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307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0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86940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69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tags" Target="../tags/tag75.xml"/><Relationship Id="rId7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tags" Target="../tags/tag77.xml"/><Relationship Id="rId7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81.xml"/><Relationship Id="rId7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.xml"/><Relationship Id="rId7" Type="http://schemas.openxmlformats.org/officeDocument/2006/relationships/oleObject" Target="../embeddings/oleObject66.bin"/><Relationship Id="rId2" Type="http://schemas.openxmlformats.org/officeDocument/2006/relationships/tags" Target="../tags/tag8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76.pn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13" Type="http://schemas.openxmlformats.org/officeDocument/2006/relationships/image" Target="../media/image54.png"/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12" Type="http://schemas.openxmlformats.org/officeDocument/2006/relationships/image" Target="../media/image81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11" Type="http://schemas.openxmlformats.org/officeDocument/2006/relationships/image" Target="../media/image80.jpe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79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89.xml"/><Relationship Id="rId7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g"/><Relationship Id="rId3" Type="http://schemas.openxmlformats.org/officeDocument/2006/relationships/tags" Target="../tags/tag91.xml"/><Relationship Id="rId7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6.tiff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5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g"/><Relationship Id="rId3" Type="http://schemas.openxmlformats.org/officeDocument/2006/relationships/tags" Target="../tags/tag93.xml"/><Relationship Id="rId7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94.xml"/><Relationship Id="rId6" Type="http://schemas.openxmlformats.org/officeDocument/2006/relationships/image" Target="../media/image86.png"/><Relationship Id="rId5" Type="http://schemas.openxmlformats.org/officeDocument/2006/relationships/image" Target="../media/image59.svg"/><Relationship Id="rId4" Type="http://schemas.openxmlformats.org/officeDocument/2006/relationships/image" Target="../media/image8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95.xml"/><Relationship Id="rId6" Type="http://schemas.openxmlformats.org/officeDocument/2006/relationships/image" Target="../media/image87.png"/><Relationship Id="rId5" Type="http://schemas.openxmlformats.org/officeDocument/2006/relationships/image" Target="../media/image59.svg"/><Relationship Id="rId4" Type="http://schemas.openxmlformats.org/officeDocument/2006/relationships/image" Target="../media/image8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8.xml"/><Relationship Id="rId1" Type="http://schemas.openxmlformats.org/officeDocument/2006/relationships/tags" Target="../tags/tag9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9.xml"/><Relationship Id="rId7" Type="http://schemas.openxmlformats.org/officeDocument/2006/relationships/oleObject" Target="../embeddings/oleObject53.bin"/><Relationship Id="rId2" Type="http://schemas.openxmlformats.org/officeDocument/2006/relationships/tags" Target="../tags/tag5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4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61.xml"/><Relationship Id="rId7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63.xml"/><Relationship Id="rId7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62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69.xml"/><Relationship Id="rId7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66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9805081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">
            <a:extLst>
              <a:ext uri="{FF2B5EF4-FFF2-40B4-BE49-F238E27FC236}">
                <a16:creationId xmlns="" xmlns:a16="http://schemas.microsoft.com/office/drawing/2014/main" id="{ED103944-75A7-764C-9584-1D6B26E5A02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10" t="-44" r="5634" b="-1219"/>
          <a:stretch/>
        </p:blipFill>
        <p:spPr>
          <a:xfrm>
            <a:off x="0" y="-41111"/>
            <a:ext cx="7921099" cy="7021699"/>
          </a:xfrm>
          <a:prstGeom prst="rect">
            <a:avLst/>
          </a:prstGeom>
        </p:spPr>
      </p:pic>
      <p:sp>
        <p:nvSpPr>
          <p:cNvPr id="11" name="Rectángulo 20">
            <a:extLst>
              <a:ext uri="{FF2B5EF4-FFF2-40B4-BE49-F238E27FC236}">
                <a16:creationId xmlns="" xmlns:a16="http://schemas.microsoft.com/office/drawing/2014/main" id="{771B4E90-65CB-7B4E-BE24-B42D5170AE8E}"/>
              </a:ext>
            </a:extLst>
          </p:cNvPr>
          <p:cNvSpPr/>
          <p:nvPr/>
        </p:nvSpPr>
        <p:spPr>
          <a:xfrm>
            <a:off x="7921099" y="-48616"/>
            <a:ext cx="4424909" cy="694462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/>
          </a:p>
        </p:txBody>
      </p:sp>
      <p:pic>
        <p:nvPicPr>
          <p:cNvPr id="12" name="Imagen 14">
            <a:extLst>
              <a:ext uri="{FF2B5EF4-FFF2-40B4-BE49-F238E27FC236}">
                <a16:creationId xmlns="" xmlns:a16="http://schemas.microsoft.com/office/drawing/2014/main" id="{86A44E16-8676-BA48-8020-77587B167F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6208" y="401655"/>
            <a:ext cx="833536" cy="1303457"/>
          </a:xfrm>
          <a:prstGeom prst="rect">
            <a:avLst/>
          </a:prstGeom>
        </p:spPr>
      </p:pic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07C58909-33C4-F34A-93C5-4893E15C52F1}"/>
              </a:ext>
            </a:extLst>
          </p:cNvPr>
          <p:cNvSpPr/>
          <p:nvPr/>
        </p:nvSpPr>
        <p:spPr>
          <a:xfrm>
            <a:off x="8203208" y="3859912"/>
            <a:ext cx="2227028" cy="369060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800" dirty="0"/>
          </a:p>
        </p:txBody>
      </p:sp>
      <p:sp>
        <p:nvSpPr>
          <p:cNvPr id="15" name="Rectángulo 13">
            <a:extLst>
              <a:ext uri="{FF2B5EF4-FFF2-40B4-BE49-F238E27FC236}">
                <a16:creationId xmlns="" xmlns:a16="http://schemas.microsoft.com/office/drawing/2014/main" id="{D4D9F373-53D3-9444-A933-6CDC0DF5C9F0}"/>
              </a:ext>
            </a:extLst>
          </p:cNvPr>
          <p:cNvSpPr/>
          <p:nvPr/>
        </p:nvSpPr>
        <p:spPr>
          <a:xfrm>
            <a:off x="8203207" y="3859912"/>
            <a:ext cx="2214068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966">
              <a:defRPr/>
            </a:pPr>
            <a:r>
              <a:rPr lang="es-ES" sz="1798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1798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1798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Picture 24" descr="Productividad de la extracción con skidders en cortas finales de pino taeda">
            <a:extLst>
              <a:ext uri="{FF2B5EF4-FFF2-40B4-BE49-F238E27FC236}">
                <a16:creationId xmlns="" xmlns:a16="http://schemas.microsoft.com/office/drawing/2014/main" id="{FFB1A413-73C9-124F-8F26-43FE83C393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62" r="4198" b="3029"/>
          <a:stretch/>
        </p:blipFill>
        <p:spPr bwMode="auto">
          <a:xfrm>
            <a:off x="0" y="-48617"/>
            <a:ext cx="7921099" cy="6944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Marcador de texto 1">
            <a:extLst>
              <a:ext uri="{FF2B5EF4-FFF2-40B4-BE49-F238E27FC236}">
                <a16:creationId xmlns="" xmlns:a16="http://schemas.microsoft.com/office/drawing/2014/main" id="{7CDEC40E-B9B2-9B48-BFF3-F2B58EE522E4}"/>
              </a:ext>
            </a:extLst>
          </p:cNvPr>
          <p:cNvSpPr txBox="1">
            <a:spLocks/>
          </p:cNvSpPr>
          <p:nvPr/>
        </p:nvSpPr>
        <p:spPr>
          <a:xfrm>
            <a:off x="8203207" y="4390265"/>
            <a:ext cx="4260960" cy="12054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363">
              <a:lnSpc>
                <a:spcPct val="100000"/>
              </a:lnSpc>
              <a:defRPr/>
            </a:pPr>
            <a:r>
              <a:rPr lang="es-ES" sz="2800" dirty="0" err="1" smtClean="0">
                <a:solidFill>
                  <a:srgbClr val="0C662F"/>
                </a:solidFill>
                <a:latin typeface="ACHS Nueva Serif" pitchFamily="2" charset="77"/>
                <a:sym typeface="Arial"/>
              </a:rPr>
              <a:t>Estrobero</a:t>
            </a:r>
            <a:r>
              <a:rPr lang="es-ES" sz="2800" dirty="0" smtClean="0">
                <a:solidFill>
                  <a:srgbClr val="0C662F"/>
                </a:solidFill>
                <a:latin typeface="ACHS Nueva Serif" pitchFamily="2" charset="77"/>
                <a:sym typeface="Arial"/>
              </a:rPr>
              <a:t> </a:t>
            </a:r>
            <a:r>
              <a:rPr lang="es-ES" sz="28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de </a:t>
            </a:r>
          </a:p>
          <a:p>
            <a:pPr algn="l" defTabSz="913363">
              <a:lnSpc>
                <a:spcPct val="100000"/>
              </a:lnSpc>
              <a:defRPr/>
            </a:pPr>
            <a:r>
              <a:rPr lang="es-ES" sz="28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tractores de </a:t>
            </a:r>
            <a:r>
              <a:rPr lang="es-ES" sz="2800" dirty="0" err="1">
                <a:solidFill>
                  <a:srgbClr val="0C662F"/>
                </a:solidFill>
                <a:latin typeface="ACHS Nueva Serif" pitchFamily="2" charset="77"/>
                <a:sym typeface="Arial"/>
              </a:rPr>
              <a:t>madereo</a:t>
            </a:r>
            <a:endParaRPr lang="es-ES" sz="2800" dirty="0">
              <a:solidFill>
                <a:srgbClr val="0C662F"/>
              </a:solidFill>
              <a:latin typeface="ACHS Nueva Serif" pitchFamily="2" charset="77"/>
              <a:sym typeface="Arial"/>
            </a:endParaRPr>
          </a:p>
          <a:p>
            <a:pPr algn="l"/>
            <a:endParaRPr lang="es-CL" sz="2800" dirty="0">
              <a:solidFill>
                <a:srgbClr val="0C662F"/>
              </a:solidFill>
              <a:latin typeface="ACHS Nueva Serif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4707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texto 31">
            <a:extLst>
              <a:ext uri="{FF2B5EF4-FFF2-40B4-BE49-F238E27FC236}">
                <a16:creationId xmlns="" xmlns:a16="http://schemas.microsoft.com/office/drawing/2014/main" id="{34BC9465-4184-2C43-9EC3-C93A31D1BE61}"/>
              </a:ext>
            </a:extLst>
          </p:cNvPr>
          <p:cNvSpPr txBox="1">
            <a:spLocks/>
          </p:cNvSpPr>
          <p:nvPr/>
        </p:nvSpPr>
        <p:spPr>
          <a:xfrm>
            <a:off x="676792" y="2604079"/>
            <a:ext cx="3256046" cy="141035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Dos o más trozos en un solo estrobo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9" name="Marcador de texto 31">
            <a:extLst>
              <a:ext uri="{FF2B5EF4-FFF2-40B4-BE49-F238E27FC236}">
                <a16:creationId xmlns="" xmlns:a16="http://schemas.microsoft.com/office/drawing/2014/main" id="{F512D574-6B7F-D943-8256-A3B770676F97}"/>
              </a:ext>
            </a:extLst>
          </p:cNvPr>
          <p:cNvSpPr txBox="1">
            <a:spLocks/>
          </p:cNvSpPr>
          <p:nvPr/>
        </p:nvSpPr>
        <p:spPr>
          <a:xfrm>
            <a:off x="4581070" y="2602789"/>
            <a:ext cx="3256046" cy="768456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Usando 2 estrobos y se utiliza habitualmente para trozas grandes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0" name="Marcador de texto 31">
            <a:extLst>
              <a:ext uri="{FF2B5EF4-FFF2-40B4-BE49-F238E27FC236}">
                <a16:creationId xmlns="" xmlns:a16="http://schemas.microsoft.com/office/drawing/2014/main" id="{9CAAD368-B898-9E48-8E50-84BABF8DA393}"/>
              </a:ext>
            </a:extLst>
          </p:cNvPr>
          <p:cNvSpPr txBox="1">
            <a:spLocks/>
          </p:cNvSpPr>
          <p:nvPr/>
        </p:nvSpPr>
        <p:spPr>
          <a:xfrm>
            <a:off x="8493573" y="2602789"/>
            <a:ext cx="3256046" cy="141164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Cable alrededor del árbol o trozo a rozar para mover levemente la troza. Después, </a:t>
            </a:r>
            <a:r>
              <a:rPr lang="es-ES" sz="1371" kern="0" dirty="0" err="1">
                <a:solidFill>
                  <a:schemeClr val="tx1"/>
                </a:solidFill>
                <a:latin typeface="ACHS Nueva Sans Medium" pitchFamily="2" charset="77"/>
              </a:rPr>
              <a:t>estrobe</a:t>
            </a:r>
            <a:r>
              <a:rPr lang="es-ES" sz="1371" kern="0" dirty="0">
                <a:solidFill>
                  <a:schemeClr val="tx1"/>
                </a:solidFill>
                <a:latin typeface="ACHS Nueva Sans Medium" pitchFamily="2" charset="77"/>
              </a:rPr>
              <a:t> nuevamente o pase cable sobre tocón.</a:t>
            </a: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371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76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32" name="Picture 2">
            <a:extLst>
              <a:ext uri="{FF2B5EF4-FFF2-40B4-BE49-F238E27FC236}">
                <a16:creationId xmlns="" xmlns:a16="http://schemas.microsoft.com/office/drawing/2014/main" id="{39832B2E-3AF4-1343-B564-C84305819A04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37" t="7944" b="5261"/>
          <a:stretch/>
        </p:blipFill>
        <p:spPr bwMode="auto">
          <a:xfrm>
            <a:off x="4600185" y="3847631"/>
            <a:ext cx="3236931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="" xmlns:a16="http://schemas.microsoft.com/office/drawing/2014/main" id="{84F7C833-94C0-BC42-BC50-35D9042CA010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44" t="10631" r="7096" b="5042"/>
          <a:stretch/>
        </p:blipFill>
        <p:spPr bwMode="auto">
          <a:xfrm>
            <a:off x="8493573" y="3949563"/>
            <a:ext cx="325604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2">
            <a:extLst>
              <a:ext uri="{FF2B5EF4-FFF2-40B4-BE49-F238E27FC236}">
                <a16:creationId xmlns="" xmlns:a16="http://schemas.microsoft.com/office/drawing/2014/main" id="{981556FD-69CC-4742-B70B-C07EC3983898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52" t="4780" r="3448" b="6789"/>
          <a:stretch/>
        </p:blipFill>
        <p:spPr bwMode="auto">
          <a:xfrm>
            <a:off x="665510" y="3847631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7" name="Título 30">
            <a:extLst>
              <a:ext uri="{FF2B5EF4-FFF2-40B4-BE49-F238E27FC236}">
                <a16:creationId xmlns="" xmlns:a16="http://schemas.microsoft.com/office/drawing/2014/main" id="{E6D9E55C-A759-5141-945B-BEADB0D0903C}"/>
              </a:ext>
            </a:extLst>
          </p:cNvPr>
          <p:cNvSpPr txBox="1">
            <a:spLocks/>
          </p:cNvSpPr>
          <p:nvPr/>
        </p:nvSpPr>
        <p:spPr>
          <a:xfrm>
            <a:off x="608200" y="534186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  <a:endParaRPr lang="es-CL" sz="2000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47" name="Imagen 5">
            <a:extLst>
              <a:ext uri="{FF2B5EF4-FFF2-40B4-BE49-F238E27FC236}">
                <a16:creationId xmlns="" xmlns:a16="http://schemas.microsoft.com/office/drawing/2014/main" id="{9D2458EB-5F89-6349-B7E4-8F81A9FE88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48" name="Conector recto 6">
            <a:extLst>
              <a:ext uri="{FF2B5EF4-FFF2-40B4-BE49-F238E27FC236}">
                <a16:creationId xmlns="" xmlns:a16="http://schemas.microsoft.com/office/drawing/2014/main" id="{36FCC2E3-B653-3941-AB20-5A5AF49E5F65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Google Shape;1428;p39">
            <a:extLst>
              <a:ext uri="{FF2B5EF4-FFF2-40B4-BE49-F238E27FC236}">
                <a16:creationId xmlns="" xmlns:a16="http://schemas.microsoft.com/office/drawing/2014/main" id="{6E3164C7-9FB4-C745-ABC6-B2E8E1E39EA1}"/>
              </a:ext>
            </a:extLst>
          </p:cNvPr>
          <p:cNvSpPr/>
          <p:nvPr/>
        </p:nvSpPr>
        <p:spPr>
          <a:xfrm>
            <a:off x="961845" y="1632216"/>
            <a:ext cx="2752404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0" name="Google Shape;1431;p39">
            <a:extLst>
              <a:ext uri="{FF2B5EF4-FFF2-40B4-BE49-F238E27FC236}">
                <a16:creationId xmlns="" xmlns:a16="http://schemas.microsoft.com/office/drawing/2014/main" id="{0F96C33B-2D95-C64C-99A7-4D5DB542EDE0}"/>
              </a:ext>
            </a:extLst>
          </p:cNvPr>
          <p:cNvSpPr/>
          <p:nvPr/>
        </p:nvSpPr>
        <p:spPr>
          <a:xfrm>
            <a:off x="578792" y="1628800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Marcador de texto 31">
            <a:extLst>
              <a:ext uri="{FF2B5EF4-FFF2-40B4-BE49-F238E27FC236}">
                <a16:creationId xmlns="" xmlns:a16="http://schemas.microsoft.com/office/drawing/2014/main" id="{67FB9B1F-2C4B-6A4A-8EA2-1478334D7E5E}"/>
              </a:ext>
            </a:extLst>
          </p:cNvPr>
          <p:cNvSpPr txBox="1">
            <a:spLocks/>
          </p:cNvSpPr>
          <p:nvPr/>
        </p:nvSpPr>
        <p:spPr>
          <a:xfrm>
            <a:off x="666027" y="1676088"/>
            <a:ext cx="569354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4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52" name="Google Shape;1428;p39">
            <a:extLst>
              <a:ext uri="{FF2B5EF4-FFF2-40B4-BE49-F238E27FC236}">
                <a16:creationId xmlns="" xmlns:a16="http://schemas.microsoft.com/office/drawing/2014/main" id="{F80BF867-C020-5940-BCF9-B03AED02AB90}"/>
              </a:ext>
            </a:extLst>
          </p:cNvPr>
          <p:cNvSpPr/>
          <p:nvPr/>
        </p:nvSpPr>
        <p:spPr>
          <a:xfrm>
            <a:off x="4835145" y="1637044"/>
            <a:ext cx="2752404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3" name="Google Shape;1431;p39">
            <a:extLst>
              <a:ext uri="{FF2B5EF4-FFF2-40B4-BE49-F238E27FC236}">
                <a16:creationId xmlns="" xmlns:a16="http://schemas.microsoft.com/office/drawing/2014/main" id="{90508527-A2B7-644D-866D-D49B7899B669}"/>
              </a:ext>
            </a:extLst>
          </p:cNvPr>
          <p:cNvSpPr/>
          <p:nvPr/>
        </p:nvSpPr>
        <p:spPr>
          <a:xfrm>
            <a:off x="4452091" y="1633628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08E7A935-DA42-8F49-AB26-98336C4AAD75}"/>
              </a:ext>
            </a:extLst>
          </p:cNvPr>
          <p:cNvSpPr txBox="1">
            <a:spLocks/>
          </p:cNvSpPr>
          <p:nvPr/>
        </p:nvSpPr>
        <p:spPr>
          <a:xfrm>
            <a:off x="4560829" y="1666843"/>
            <a:ext cx="274316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5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55" name="Google Shape;1428;p39">
            <a:extLst>
              <a:ext uri="{FF2B5EF4-FFF2-40B4-BE49-F238E27FC236}">
                <a16:creationId xmlns="" xmlns:a16="http://schemas.microsoft.com/office/drawing/2014/main" id="{460E571E-8F7E-804F-A8B3-AB102C82ACAC}"/>
              </a:ext>
            </a:extLst>
          </p:cNvPr>
          <p:cNvSpPr/>
          <p:nvPr/>
        </p:nvSpPr>
        <p:spPr>
          <a:xfrm>
            <a:off x="8671197" y="1617908"/>
            <a:ext cx="2788370" cy="751481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56" name="Google Shape;1431;p39">
            <a:extLst>
              <a:ext uri="{FF2B5EF4-FFF2-40B4-BE49-F238E27FC236}">
                <a16:creationId xmlns="" xmlns:a16="http://schemas.microsoft.com/office/drawing/2014/main" id="{8A7BA2CC-309D-9640-9E6D-F429D0D6B346}"/>
              </a:ext>
            </a:extLst>
          </p:cNvPr>
          <p:cNvSpPr/>
          <p:nvPr/>
        </p:nvSpPr>
        <p:spPr>
          <a:xfrm>
            <a:off x="8324110" y="1614492"/>
            <a:ext cx="755195" cy="755195"/>
          </a:xfrm>
          <a:prstGeom prst="ellipse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Marcador de texto 31">
            <a:extLst>
              <a:ext uri="{FF2B5EF4-FFF2-40B4-BE49-F238E27FC236}">
                <a16:creationId xmlns="" xmlns:a16="http://schemas.microsoft.com/office/drawing/2014/main" id="{D76B5BE5-DCF6-9C4E-A30A-DCB30C853AE2}"/>
              </a:ext>
            </a:extLst>
          </p:cNvPr>
          <p:cNvSpPr txBox="1">
            <a:spLocks/>
          </p:cNvSpPr>
          <p:nvPr/>
        </p:nvSpPr>
        <p:spPr>
          <a:xfrm>
            <a:off x="8377466" y="1653655"/>
            <a:ext cx="587461" cy="6070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4800" b="1" kern="0" dirty="0">
                <a:solidFill>
                  <a:schemeClr val="bg1"/>
                </a:solidFill>
                <a:latin typeface="ACHS Nueva Sans SemiBold" pitchFamily="2" charset="77"/>
              </a:rPr>
              <a:t>6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4800" b="1" kern="0" dirty="0">
              <a:solidFill>
                <a:schemeClr val="bg1"/>
              </a:solidFill>
              <a:latin typeface="ACHS Nueva Sans SemiBold" pitchFamily="2" charset="77"/>
            </a:endParaRPr>
          </a:p>
        </p:txBody>
      </p:sp>
      <p:sp>
        <p:nvSpPr>
          <p:cNvPr id="58" name="Marcador de texto 31">
            <a:extLst>
              <a:ext uri="{FF2B5EF4-FFF2-40B4-BE49-F238E27FC236}">
                <a16:creationId xmlns="" xmlns:a16="http://schemas.microsoft.com/office/drawing/2014/main" id="{B4B49FCB-2EA9-944F-A6B0-A42EBDFBADE7}"/>
              </a:ext>
            </a:extLst>
          </p:cNvPr>
          <p:cNvSpPr txBox="1">
            <a:spLocks/>
          </p:cNvSpPr>
          <p:nvPr/>
        </p:nvSpPr>
        <p:spPr>
          <a:xfrm>
            <a:off x="1468407" y="1844824"/>
            <a:ext cx="2580842" cy="321860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Estrobado llapa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sp>
        <p:nvSpPr>
          <p:cNvPr id="60" name="Marcador de texto 31">
            <a:extLst>
              <a:ext uri="{FF2B5EF4-FFF2-40B4-BE49-F238E27FC236}">
                <a16:creationId xmlns="" xmlns:a16="http://schemas.microsoft.com/office/drawing/2014/main" id="{E927176C-0F65-A34C-9395-71D50CC24155}"/>
              </a:ext>
            </a:extLst>
          </p:cNvPr>
          <p:cNvSpPr txBox="1">
            <a:spLocks/>
          </p:cNvSpPr>
          <p:nvPr/>
        </p:nvSpPr>
        <p:spPr>
          <a:xfrm>
            <a:off x="5353794" y="1844824"/>
            <a:ext cx="2580842" cy="24877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 sueco</a:t>
            </a:r>
          </a:p>
        </p:txBody>
      </p:sp>
      <p:sp>
        <p:nvSpPr>
          <p:cNvPr id="61" name="Marcador de texto 31">
            <a:extLst>
              <a:ext uri="{FF2B5EF4-FFF2-40B4-BE49-F238E27FC236}">
                <a16:creationId xmlns="" xmlns:a16="http://schemas.microsoft.com/office/drawing/2014/main" id="{6E2BBFB7-8A8B-8443-9D88-5EC23CDF7BA3}"/>
              </a:ext>
            </a:extLst>
          </p:cNvPr>
          <p:cNvSpPr txBox="1">
            <a:spLocks/>
          </p:cNvSpPr>
          <p:nvPr/>
        </p:nvSpPr>
        <p:spPr>
          <a:xfrm>
            <a:off x="9214915" y="1844824"/>
            <a:ext cx="2315982" cy="32940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600" kern="0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1600" kern="0" dirty="0">
                <a:solidFill>
                  <a:srgbClr val="15C047"/>
                </a:solidFill>
                <a:latin typeface="ACHS Nueva Serif" pitchFamily="2" charset="77"/>
              </a:rPr>
              <a:t> roce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15C047"/>
              </a:solidFill>
              <a:latin typeface="ACHS Nueva Serif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0093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1621039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84FAAD56-18FF-1445-8E4C-5B93C7D26928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84" t="7436" r="6789" b="3329"/>
          <a:stretch/>
        </p:blipFill>
        <p:spPr bwMode="auto">
          <a:xfrm>
            <a:off x="4490830" y="3832376"/>
            <a:ext cx="3346286" cy="161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" name="Marcador de texto 31">
            <a:extLst>
              <a:ext uri="{FF2B5EF4-FFF2-40B4-BE49-F238E27FC236}">
                <a16:creationId xmlns="" xmlns:a16="http://schemas.microsoft.com/office/drawing/2014/main" id="{DBFFA652-CAD9-7547-92B0-A1A9D0F323AB}"/>
              </a:ext>
            </a:extLst>
          </p:cNvPr>
          <p:cNvSpPr txBox="1">
            <a:spLocks/>
          </p:cNvSpPr>
          <p:nvPr/>
        </p:nvSpPr>
        <p:spPr>
          <a:xfrm>
            <a:off x="4581070" y="2660544"/>
            <a:ext cx="3346286" cy="768456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370" kern="0" dirty="0" err="1">
                <a:solidFill>
                  <a:schemeClr val="tx1"/>
                </a:solidFill>
                <a:latin typeface="ACHS Nueva Sans Medium" pitchFamily="2" charset="77"/>
              </a:rPr>
              <a:t>Estrobado</a:t>
            </a:r>
            <a:r>
              <a:rPr lang="es-ES" sz="1370" kern="0" dirty="0">
                <a:solidFill>
                  <a:schemeClr val="tx1"/>
                </a:solidFill>
                <a:latin typeface="ACHS Nueva Sans Medium" pitchFamily="2" charset="77"/>
              </a:rPr>
              <a:t> firme de dos trozas cruzadas.</a:t>
            </a:r>
            <a:endParaRPr lang="es-CL" sz="137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2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6C2BDF6F-05BC-4945-A9C7-5A49F2CB7953}"/>
              </a:ext>
            </a:extLst>
          </p:cNvPr>
          <p:cNvSpPr txBox="1">
            <a:spLocks/>
          </p:cNvSpPr>
          <p:nvPr/>
        </p:nvSpPr>
        <p:spPr>
          <a:xfrm>
            <a:off x="608200" y="534186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</a:p>
        </p:txBody>
      </p:sp>
      <p:pic>
        <p:nvPicPr>
          <p:cNvPr id="19" name="Imagen 5">
            <a:extLst>
              <a:ext uri="{FF2B5EF4-FFF2-40B4-BE49-F238E27FC236}">
                <a16:creationId xmlns="" xmlns:a16="http://schemas.microsoft.com/office/drawing/2014/main" id="{C9D0A4BA-137D-EC46-A67C-0817005EB0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0" name="Conector recto 6">
            <a:extLst>
              <a:ext uri="{FF2B5EF4-FFF2-40B4-BE49-F238E27FC236}">
                <a16:creationId xmlns="" xmlns:a16="http://schemas.microsoft.com/office/drawing/2014/main" id="{9D3AF727-B7F8-5642-9CA4-EB707802A39E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90A36C35-E7D1-6449-9FEE-AE28412794F5}"/>
              </a:ext>
            </a:extLst>
          </p:cNvPr>
          <p:cNvGrpSpPr/>
          <p:nvPr/>
        </p:nvGrpSpPr>
        <p:grpSpPr>
          <a:xfrm>
            <a:off x="4361565" y="1628800"/>
            <a:ext cx="3470457" cy="755195"/>
            <a:chOff x="578792" y="1628800"/>
            <a:chExt cx="3470457" cy="755195"/>
          </a:xfrm>
        </p:grpSpPr>
        <p:grpSp>
          <p:nvGrpSpPr>
            <p:cNvPr id="22" name="Group 21">
              <a:extLst>
                <a:ext uri="{FF2B5EF4-FFF2-40B4-BE49-F238E27FC236}">
                  <a16:creationId xmlns="" xmlns:a16="http://schemas.microsoft.com/office/drawing/2014/main" id="{39CC34B1-CB1F-954B-BD12-05A87B5BD117}"/>
                </a:ext>
              </a:extLst>
            </p:cNvPr>
            <p:cNvGrpSpPr/>
            <p:nvPr/>
          </p:nvGrpSpPr>
          <p:grpSpPr>
            <a:xfrm>
              <a:off x="578792" y="1628800"/>
              <a:ext cx="3135457" cy="755195"/>
              <a:chOff x="578792" y="1628800"/>
              <a:chExt cx="3135457" cy="755195"/>
            </a:xfrm>
          </p:grpSpPr>
          <p:sp>
            <p:nvSpPr>
              <p:cNvPr id="24" name="Google Shape;1428;p39">
                <a:extLst>
                  <a:ext uri="{FF2B5EF4-FFF2-40B4-BE49-F238E27FC236}">
                    <a16:creationId xmlns="" xmlns:a16="http://schemas.microsoft.com/office/drawing/2014/main" id="{014AB3F2-C453-B848-A5B3-047B0189CED1}"/>
                  </a:ext>
                </a:extLst>
              </p:cNvPr>
              <p:cNvSpPr/>
              <p:nvPr/>
            </p:nvSpPr>
            <p:spPr>
              <a:xfrm>
                <a:off x="945868" y="1632216"/>
                <a:ext cx="276838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25" name="Google Shape;1431;p39">
                <a:extLst>
                  <a:ext uri="{FF2B5EF4-FFF2-40B4-BE49-F238E27FC236}">
                    <a16:creationId xmlns="" xmlns:a16="http://schemas.microsoft.com/office/drawing/2014/main" id="{7A27D1B4-4FDE-1341-9564-0FA06F564A9E}"/>
                  </a:ext>
                </a:extLst>
              </p:cNvPr>
              <p:cNvSpPr/>
              <p:nvPr/>
            </p:nvSpPr>
            <p:spPr>
              <a:xfrm>
                <a:off x="578792" y="1628800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" name="Marcador de texto 31">
                <a:extLst>
                  <a:ext uri="{FF2B5EF4-FFF2-40B4-BE49-F238E27FC236}">
                    <a16:creationId xmlns="" xmlns:a16="http://schemas.microsoft.com/office/drawing/2014/main" id="{A8C2EA94-1CDF-2B41-A789-C906BAD5EF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027" y="1676088"/>
                <a:ext cx="569354" cy="607041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99600" marR="0" indent="-399600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1pPr>
                <a:lvl2pPr marL="1465196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2pPr>
                <a:lvl3pPr marL="1864794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3pPr>
                <a:lvl4pPr marL="2264393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4pPr>
                <a:lvl5pPr marL="2663992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5pPr>
                <a:lvl6pPr marL="2963690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6pPr>
                <a:lvl7pPr marL="32633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7pPr>
                <a:lvl8pPr marL="35630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8pPr>
                <a:lvl9pPr marL="3862787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r>
                  <a:rPr lang="es-CL" sz="4800" b="1" kern="0" dirty="0">
                    <a:solidFill>
                      <a:schemeClr val="bg1"/>
                    </a:solidFill>
                    <a:latin typeface="ACHS Nueva Sans SemiBold" pitchFamily="2" charset="77"/>
                  </a:rPr>
                  <a:t>7</a:t>
                </a: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</p:txBody>
          </p:sp>
        </p:grpSp>
        <p:sp>
          <p:nvSpPr>
            <p:cNvPr id="23" name="Marcador de texto 31">
              <a:extLst>
                <a:ext uri="{FF2B5EF4-FFF2-40B4-BE49-F238E27FC236}">
                  <a16:creationId xmlns="" xmlns:a16="http://schemas.microsoft.com/office/drawing/2014/main" id="{9C44E542-125A-734F-841C-B1994120609F}"/>
                </a:ext>
              </a:extLst>
            </p:cNvPr>
            <p:cNvSpPr txBox="1">
              <a:spLocks/>
            </p:cNvSpPr>
            <p:nvPr/>
          </p:nvSpPr>
          <p:spPr>
            <a:xfrm>
              <a:off x="1468407" y="1844824"/>
              <a:ext cx="2580842" cy="32186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cruzado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4405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ítulo 30">
            <a:extLst>
              <a:ext uri="{FF2B5EF4-FFF2-40B4-BE49-F238E27FC236}">
                <a16:creationId xmlns="" xmlns:a16="http://schemas.microsoft.com/office/drawing/2014/main" id="{5FF9D4F4-50F5-B843-8CA8-1EFD6B4DA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</a:rPr>
              <a:t>Señales visuales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01108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o 12"/>
          <p:cNvGrpSpPr/>
          <p:nvPr/>
        </p:nvGrpSpPr>
        <p:grpSpPr>
          <a:xfrm>
            <a:off x="2420957" y="1783103"/>
            <a:ext cx="7790580" cy="4128442"/>
            <a:chOff x="5004668" y="1656290"/>
            <a:chExt cx="8712968" cy="4500456"/>
          </a:xfrm>
        </p:grpSpPr>
        <p:grpSp>
          <p:nvGrpSpPr>
            <p:cNvPr id="14" name="Grupo 13"/>
            <p:cNvGrpSpPr/>
            <p:nvPr/>
          </p:nvGrpSpPr>
          <p:grpSpPr>
            <a:xfrm>
              <a:off x="5580506" y="2060623"/>
              <a:ext cx="7590647" cy="3767436"/>
              <a:chOff x="5580508" y="2060624"/>
              <a:chExt cx="7272736" cy="3444334"/>
            </a:xfrm>
          </p:grpSpPr>
          <p:sp>
            <p:nvSpPr>
              <p:cNvPr id="17" name="Text Box 3"/>
              <p:cNvSpPr txBox="1">
                <a:spLocks noChangeArrowheads="1"/>
              </p:cNvSpPr>
              <p:nvPr/>
            </p:nvSpPr>
            <p:spPr bwMode="auto">
              <a:xfrm>
                <a:off x="6400202" y="5139520"/>
                <a:ext cx="1368000" cy="3257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>
                <a:spAutoFit/>
              </a:bodyPr>
              <a:lstStyle>
                <a:defPPr>
                  <a:defRPr lang="es-CL"/>
                </a:defPPr>
                <a:lvl1pPr marL="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9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44018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16027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88036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45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432054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04063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72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s-ES_tradnl" altLang="es-CL" sz="1524" b="1" spc="229" dirty="0">
                    <a:solidFill>
                      <a:srgbClr val="15C047"/>
                    </a:solidFill>
                    <a:latin typeface="ACHS Nueva Sans SemiBold" pitchFamily="2" charset="77"/>
                    <a:cs typeface="Catamaran Light" panose="00000400000000000000" pitchFamily="2" charset="0"/>
                  </a:rPr>
                  <a:t>Parar</a:t>
                </a:r>
              </a:p>
            </p:txBody>
          </p:sp>
          <p:pic>
            <p:nvPicPr>
              <p:cNvPr id="19" name="5 Imagen" descr="estrob4.jpg"/>
              <p:cNvPicPr preferRelativeResize="0">
                <a:picLocks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0508" y="2060624"/>
                <a:ext cx="3024000" cy="2808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 Box 4"/>
              <p:cNvSpPr txBox="1">
                <a:spLocks noChangeArrowheads="1"/>
              </p:cNvSpPr>
              <p:nvPr/>
            </p:nvSpPr>
            <p:spPr bwMode="auto">
              <a:xfrm>
                <a:off x="10732976" y="5179179"/>
                <a:ext cx="1368000" cy="3257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>
                <a:spAutoFit/>
              </a:bodyPr>
              <a:lstStyle>
                <a:defPPr>
                  <a:defRPr lang="es-CL"/>
                </a:defPPr>
                <a:lvl1pPr marL="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9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44018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16027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88036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45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432054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04063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72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s-ES_tradnl" altLang="es-CL" sz="1524" b="1" spc="229" dirty="0">
                    <a:solidFill>
                      <a:srgbClr val="15C047"/>
                    </a:solidFill>
                    <a:latin typeface="ACHS Nueva Sans SemiBold" pitchFamily="2" charset="77"/>
                    <a:cs typeface="Catamaran Light" panose="00000400000000000000" pitchFamily="2" charset="0"/>
                  </a:rPr>
                  <a:t>Soltar</a:t>
                </a:r>
              </a:p>
            </p:txBody>
          </p:sp>
          <p:pic>
            <p:nvPicPr>
              <p:cNvPr id="21" name="6 Imagen" descr="estrob3.jpg"/>
              <p:cNvPicPr preferRelativeResize="0">
                <a:picLocks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73244" y="2078087"/>
                <a:ext cx="2880000" cy="28076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6" name="Rectángulo 15"/>
            <p:cNvSpPr/>
            <p:nvPr/>
          </p:nvSpPr>
          <p:spPr>
            <a:xfrm>
              <a:off x="5004668" y="1656290"/>
              <a:ext cx="8712968" cy="4500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CL"/>
              </a:defPPr>
              <a:lvl1pPr marL="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2009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44018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16027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88036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0045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432054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504063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76072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2133"/>
            </a:p>
          </p:txBody>
        </p:sp>
      </p:grpSp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A3263D33-2984-B843-9B7A-7F40A560E8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314772AE-C540-4D43-8A41-3B36891F425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25441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4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o 31"/>
          <p:cNvGrpSpPr/>
          <p:nvPr/>
        </p:nvGrpSpPr>
        <p:grpSpPr>
          <a:xfrm>
            <a:off x="2447768" y="1783103"/>
            <a:ext cx="8038085" cy="4402758"/>
            <a:chOff x="5004668" y="1656290"/>
            <a:chExt cx="8712968" cy="4500456"/>
          </a:xfrm>
        </p:grpSpPr>
        <p:grpSp>
          <p:nvGrpSpPr>
            <p:cNvPr id="33" name="Grupo 32"/>
            <p:cNvGrpSpPr/>
            <p:nvPr/>
          </p:nvGrpSpPr>
          <p:grpSpPr>
            <a:xfrm>
              <a:off x="5567364" y="1833201"/>
              <a:ext cx="7358184" cy="4080700"/>
              <a:chOff x="5567364" y="2009051"/>
              <a:chExt cx="7358184" cy="4080700"/>
            </a:xfrm>
          </p:grpSpPr>
          <p:sp>
            <p:nvSpPr>
              <p:cNvPr id="35" name="Text Box 3"/>
              <p:cNvSpPr txBox="1">
                <a:spLocks noChangeArrowheads="1"/>
              </p:cNvSpPr>
              <p:nvPr/>
            </p:nvSpPr>
            <p:spPr bwMode="auto">
              <a:xfrm>
                <a:off x="6400202" y="5515857"/>
                <a:ext cx="1368000" cy="57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>
                <a:spAutoFit/>
              </a:bodyPr>
              <a:lstStyle>
                <a:defPPr>
                  <a:defRPr lang="es-CL"/>
                </a:defPPr>
                <a:lvl1pPr marL="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9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44018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16027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88036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45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432054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04063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72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s-ES_tradnl" altLang="es-CL" sz="1524" b="1" spc="229" dirty="0">
                    <a:solidFill>
                      <a:srgbClr val="15C047"/>
                    </a:solidFill>
                    <a:latin typeface="ACHS Nueva Sans SemiBold" pitchFamily="2" charset="77"/>
                    <a:cs typeface="Catamaran Light" panose="00000400000000000000" pitchFamily="2" charset="0"/>
                  </a:rPr>
                  <a:t>Tirar Normal</a:t>
                </a:r>
              </a:p>
            </p:txBody>
          </p:sp>
          <p:sp>
            <p:nvSpPr>
              <p:cNvPr id="36" name="Text Box 4"/>
              <p:cNvSpPr txBox="1">
                <a:spLocks noChangeArrowheads="1"/>
              </p:cNvSpPr>
              <p:nvPr/>
            </p:nvSpPr>
            <p:spPr bwMode="auto">
              <a:xfrm>
                <a:off x="10765548" y="5437799"/>
                <a:ext cx="1440001" cy="57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>
                <a:spAutoFit/>
              </a:bodyPr>
              <a:lstStyle>
                <a:defPPr>
                  <a:defRPr lang="es-CL"/>
                </a:defPPr>
                <a:lvl1pPr marL="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9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44018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16027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88036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45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432054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04063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720" algn="l" defTabSz="1440180" rtl="0" eaLnBrk="1" latinLnBrk="0" hangingPunct="1"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s-ES_tradnl" altLang="es-CL" sz="1524" b="1" spc="229" dirty="0">
                    <a:solidFill>
                      <a:srgbClr val="15C047"/>
                    </a:solidFill>
                    <a:latin typeface="ACHS Nueva Sans SemiBold" pitchFamily="2" charset="77"/>
                    <a:cs typeface="Catamaran Light" panose="00000400000000000000" pitchFamily="2" charset="0"/>
                  </a:rPr>
                  <a:t>Tirar Despacio</a:t>
                </a:r>
              </a:p>
            </p:txBody>
          </p:sp>
          <p:pic>
            <p:nvPicPr>
              <p:cNvPr id="37" name="5 Imagen" descr="estrob2.jpg"/>
              <p:cNvPicPr preferRelativeResize="0">
                <a:picLocks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7364" y="2009051"/>
                <a:ext cx="3024000" cy="32158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6 Imagen" descr="estrob1.jpg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45548" y="2235879"/>
                <a:ext cx="2880000" cy="28782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4" name="Rectángulo 33"/>
            <p:cNvSpPr/>
            <p:nvPr/>
          </p:nvSpPr>
          <p:spPr>
            <a:xfrm>
              <a:off x="5004668" y="1656290"/>
              <a:ext cx="8712968" cy="4500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CL"/>
              </a:defPPr>
              <a:lvl1pPr marL="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2009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44018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16027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88036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0045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432054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504063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76072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2133"/>
            </a:p>
          </p:txBody>
        </p:sp>
      </p:grpSp>
      <p:sp>
        <p:nvSpPr>
          <p:cNvPr id="27" name="Título 30">
            <a:extLst>
              <a:ext uri="{FF2B5EF4-FFF2-40B4-BE49-F238E27FC236}">
                <a16:creationId xmlns="" xmlns:a16="http://schemas.microsoft.com/office/drawing/2014/main" id="{C7FB509F-220C-DB4E-9826-12EF728C4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</a:rPr>
              <a:t>Señales visuales</a:t>
            </a:r>
          </a:p>
        </p:txBody>
      </p:sp>
      <p:pic>
        <p:nvPicPr>
          <p:cNvPr id="28" name="Imagen 5">
            <a:extLst>
              <a:ext uri="{FF2B5EF4-FFF2-40B4-BE49-F238E27FC236}">
                <a16:creationId xmlns="" xmlns:a16="http://schemas.microsoft.com/office/drawing/2014/main" id="{CF79BEBF-3E05-A844-B710-6F2AFD5297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9" name="Conector recto 6">
            <a:extLst>
              <a:ext uri="{FF2B5EF4-FFF2-40B4-BE49-F238E27FC236}">
                <a16:creationId xmlns="" xmlns:a16="http://schemas.microsoft.com/office/drawing/2014/main" id="{6378EB60-B190-714A-A74C-C0BBC2F3303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93246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0191314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1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2D562758-BD36-0949-9A2F-7B8757A44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 y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desestrobado</a:t>
            </a:r>
            <a:endParaRPr lang="es-CL" sz="2438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9CC5A7C1-6142-954A-8C68-ECF4BC3A917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1" t="3659" r="16275" b="5907"/>
          <a:stretch/>
        </p:blipFill>
        <p:spPr>
          <a:xfrm>
            <a:off x="4484214" y="1512329"/>
            <a:ext cx="7708578" cy="5345671"/>
          </a:xfrm>
          <a:prstGeom prst="rect">
            <a:avLst/>
          </a:prstGeom>
        </p:spPr>
      </p:pic>
      <p:pic>
        <p:nvPicPr>
          <p:cNvPr id="13" name="Imagen 5">
            <a:extLst>
              <a:ext uri="{FF2B5EF4-FFF2-40B4-BE49-F238E27FC236}">
                <a16:creationId xmlns="" xmlns:a16="http://schemas.microsoft.com/office/drawing/2014/main" id="{E2345E02-454A-114F-86D9-D2383DC671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4" name="Marcador de texto 31">
            <a:extLst>
              <a:ext uri="{FF2B5EF4-FFF2-40B4-BE49-F238E27FC236}">
                <a16:creationId xmlns="" xmlns:a16="http://schemas.microsoft.com/office/drawing/2014/main" id="{6BABEED9-5BA9-5145-910B-A5BFBFD68DBE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789333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Dirigir la operación de ubicación del </a:t>
            </a:r>
            <a:r>
              <a:rPr lang="es-ES_tradnl" altLang="es-CL" sz="1600" dirty="0" err="1">
                <a:latin typeface="ACHS Nueva Sans Medium" pitchFamily="2" charset="77"/>
              </a:rPr>
              <a:t>skidder</a:t>
            </a:r>
            <a:r>
              <a:rPr lang="es-ES_tradnl" altLang="es-CL" sz="1600" dirty="0">
                <a:latin typeface="ACHS Nueva Sans Medium" pitchFamily="2" charset="77"/>
              </a:rPr>
              <a:t> respecto a los fustes que fueron seleccionados para                                ser </a:t>
            </a:r>
            <a:r>
              <a:rPr lang="es-ES_tradnl" altLang="es-CL" sz="1600" dirty="0" err="1">
                <a:latin typeface="ACHS Nueva Sans Medium" pitchFamily="2" charset="77"/>
              </a:rPr>
              <a:t>estrobados</a:t>
            </a:r>
            <a:r>
              <a:rPr lang="es-ES_tradnl" altLang="es-CL" sz="1600" dirty="0">
                <a:latin typeface="ACHS Nueva Sans Medium" pitchFamily="2" charset="77"/>
              </a:rPr>
              <a:t>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Avisar al operador de la máquina cualquier condición de peligro en forma oportuna (hoyo, tocón, etc.)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Ubicarse en un costado de la dirección de retroceso de equipo, para evitar                                 ser atropellado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La distancia de seguridad desde el </a:t>
            </a:r>
            <a:r>
              <a:rPr lang="es-ES_tradnl" altLang="es-CL" sz="1600" dirty="0" err="1">
                <a:latin typeface="ACHS Nueva Sans Medium" pitchFamily="2" charset="77"/>
              </a:rPr>
              <a:t>estrobado</a:t>
            </a:r>
            <a:r>
              <a:rPr lang="es-ES_tradnl" altLang="es-CL" sz="1600" dirty="0">
                <a:latin typeface="ACHS Nueva Sans Medium" pitchFamily="2" charset="77"/>
              </a:rPr>
              <a:t> a un frente de volteo es de dos veces el largo de árbol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655BE1E6-24EB-7947-8DB6-FDE60A4B18F8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7685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52DA4846-A340-F949-B77A-8B205D28B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 y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desestrobado</a:t>
            </a:r>
            <a:endParaRPr lang="es-CL" sz="2438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13" name="Imagen 11">
            <a:extLst>
              <a:ext uri="{FF2B5EF4-FFF2-40B4-BE49-F238E27FC236}">
                <a16:creationId xmlns="" xmlns:a16="http://schemas.microsoft.com/office/drawing/2014/main" id="{0B7C6D03-25CB-AC40-80E4-0F927BFB1E4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1" t="3659" r="16275" b="5907"/>
          <a:stretch/>
        </p:blipFill>
        <p:spPr>
          <a:xfrm>
            <a:off x="4484214" y="1512329"/>
            <a:ext cx="7708578" cy="5345671"/>
          </a:xfrm>
          <a:prstGeom prst="rect">
            <a:avLst/>
          </a:prstGeom>
        </p:spPr>
      </p:pic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9006A20E-1E95-7C49-86FA-3B4C76787F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55058E23-B799-ED44-8BEC-99A045DA450E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789333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Al </a:t>
            </a:r>
            <a:r>
              <a:rPr lang="es-ES_tradnl" altLang="es-CL" sz="1600" dirty="0" err="1">
                <a:latin typeface="ACHS Nueva Sans Medium" pitchFamily="2" charset="77"/>
              </a:rPr>
              <a:t>estrobar</a:t>
            </a:r>
            <a:r>
              <a:rPr lang="es-ES_tradnl" altLang="es-CL" sz="1600" dirty="0">
                <a:latin typeface="ACHS Nueva Sans Medium" pitchFamily="2" charset="77"/>
              </a:rPr>
              <a:t> gavillas, el </a:t>
            </a:r>
            <a:r>
              <a:rPr lang="es-ES_tradnl" altLang="es-CL" sz="1600" dirty="0" err="1">
                <a:latin typeface="ACHS Nueva Sans Medium" pitchFamily="2" charset="77"/>
              </a:rPr>
              <a:t>Skidder</a:t>
            </a:r>
            <a:r>
              <a:rPr lang="es-ES_tradnl" altLang="es-CL" sz="1600" dirty="0">
                <a:latin typeface="ACHS Nueva Sans Medium" pitchFamily="2" charset="77"/>
              </a:rPr>
              <a:t> Huinche debe dejar distancia mínima de 1 </a:t>
            </a:r>
            <a:r>
              <a:rPr lang="es-ES_tradnl" altLang="es-CL" sz="1600" dirty="0" err="1">
                <a:latin typeface="ACHS Nueva Sans Medium" pitchFamily="2" charset="77"/>
              </a:rPr>
              <a:t>mt</a:t>
            </a:r>
            <a:r>
              <a:rPr lang="es-ES_tradnl" altLang="es-CL" sz="1600" dirty="0">
                <a:latin typeface="ACHS Nueva Sans Medium" pitchFamily="2" charset="77"/>
              </a:rPr>
              <a:t>. de espacio entre la gavilla y la máquina.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Debe considerar </a:t>
            </a:r>
            <a:r>
              <a:rPr lang="es-ES_tradnl" altLang="es-CL" sz="1600" dirty="0" err="1">
                <a:latin typeface="ACHS Nueva Sans Medium" pitchFamily="2" charset="77"/>
              </a:rPr>
              <a:t>estrobar</a:t>
            </a:r>
            <a:r>
              <a:rPr lang="es-ES_tradnl" altLang="es-CL" sz="1600" dirty="0">
                <a:latin typeface="ACHS Nueva Sans Medium" pitchFamily="2" charset="77"/>
              </a:rPr>
              <a:t> siempre los fustes que se encuentran arriba de otros, nunca aprisionados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600" dirty="0">
                <a:latin typeface="ACHS Nueva Sans Medium" pitchFamily="2" charset="77"/>
              </a:rPr>
              <a:t>Conocer cuál es la capacidad máxima de carga de arrastre de la máquina, para seleccionar una carga homogénea, sin sobrecargar el equipo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9EC69143-7716-734B-B68A-C77CB9D43A5F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93414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6"/>
          <a:srcRect l="1617" r="18651"/>
          <a:stretch/>
        </p:blipFill>
        <p:spPr>
          <a:xfrm>
            <a:off x="4484214" y="1512329"/>
            <a:ext cx="7708578" cy="5438314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51190622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55353607-A6DE-204E-9934-6993246AA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 y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desestrobado</a:t>
            </a:r>
            <a:endParaRPr lang="es-CL" sz="2438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A4733644-55A1-EB4F-B659-5E6861907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BE8E0CED-4BE6-1448-9718-579C5E0BBC6D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890144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ado:</a:t>
            </a: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500" dirty="0">
                <a:latin typeface="ACHS Nueva Sans Medium" pitchFamily="2" charset="77"/>
              </a:rPr>
              <a:t>Al iniciar el amarre, debe siempre dirigir el primer deslizador al último fuste a </a:t>
            </a:r>
            <a:r>
              <a:rPr lang="es-ES_tradnl" altLang="es-CL" sz="1500" dirty="0" err="1">
                <a:latin typeface="ACHS Nueva Sans Medium" pitchFamily="2" charset="77"/>
              </a:rPr>
              <a:t>estrobar</a:t>
            </a:r>
            <a:r>
              <a:rPr lang="es-ES_tradnl" altLang="es-CL" sz="1500" dirty="0">
                <a:latin typeface="ACHS Nueva Sans Medium" pitchFamily="2" charset="77"/>
              </a:rPr>
              <a:t> y así sucesivamente (se evita daño          de cable). 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500" dirty="0">
                <a:latin typeface="ACHS Nueva Sans Medium" pitchFamily="2" charset="77"/>
              </a:rPr>
              <a:t>Campana o deslizador de estrobo debe quedar con abertura hacia fuera para que no se contamine y dificulte soltar. 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500" dirty="0">
                <a:latin typeface="ACHS Nueva Sans Medium" pitchFamily="2" charset="77"/>
              </a:rPr>
              <a:t>Transitar con precaución entre los árboles.</a:t>
            </a:r>
          </a:p>
          <a:p>
            <a:pPr marL="261256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altLang="es-CL" sz="1500" dirty="0">
                <a:latin typeface="ACHS Nueva Sans Medium" pitchFamily="2" charset="77"/>
              </a:rPr>
              <a:t>Cuando realice una de las señales de tirar al operador, el </a:t>
            </a:r>
            <a:r>
              <a:rPr lang="es-ES_tradnl" altLang="es-CL" sz="1500" dirty="0" err="1">
                <a:latin typeface="ACHS Nueva Sans Medium" pitchFamily="2" charset="77"/>
              </a:rPr>
              <a:t>skidder</a:t>
            </a:r>
            <a:r>
              <a:rPr lang="es-ES_tradnl" altLang="es-CL" sz="1500" dirty="0">
                <a:latin typeface="ACHS Nueva Sans Medium" pitchFamily="2" charset="77"/>
              </a:rPr>
              <a:t> debe estar ubicado en la zona de seguridad a una distancia donde no sea alcanzado por un posible abanico o rodado de árbol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2A350095-B3D5-E440-8C53-E8848DDBE09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8223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o 8"/>
          <p:cNvGrpSpPr/>
          <p:nvPr/>
        </p:nvGrpSpPr>
        <p:grpSpPr>
          <a:xfrm>
            <a:off x="3243906" y="1508787"/>
            <a:ext cx="5711691" cy="4882828"/>
            <a:chOff x="5674561" y="1693918"/>
            <a:chExt cx="7496595" cy="6408712"/>
          </a:xfrm>
        </p:grpSpPr>
        <p:grpSp>
          <p:nvGrpSpPr>
            <p:cNvPr id="10" name="Grupo 9"/>
            <p:cNvGrpSpPr/>
            <p:nvPr/>
          </p:nvGrpSpPr>
          <p:grpSpPr>
            <a:xfrm>
              <a:off x="6084763" y="1909315"/>
              <a:ext cx="6695675" cy="5977355"/>
              <a:chOff x="6084763" y="1909315"/>
              <a:chExt cx="6695675" cy="5977355"/>
            </a:xfrm>
          </p:grpSpPr>
          <p:pic>
            <p:nvPicPr>
              <p:cNvPr id="12" name="5 Imagen" descr="paraEstrobo20.jpg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94461" y="1909315"/>
                <a:ext cx="5040188" cy="32327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7" descr="tractor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84763" y="5535761"/>
                <a:ext cx="1507530" cy="23509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" name="Picture 8" descr="tract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13549" y="5532586"/>
                <a:ext cx="1505563" cy="23527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9" descr="tractor3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55037" y="5545286"/>
                <a:ext cx="1501625" cy="23396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10" descr="tract4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6525" y="5543697"/>
                <a:ext cx="1483913" cy="23208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1" name="Rectángulo 10"/>
            <p:cNvSpPr/>
            <p:nvPr/>
          </p:nvSpPr>
          <p:spPr>
            <a:xfrm>
              <a:off x="5674561" y="1693918"/>
              <a:ext cx="7496595" cy="64087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CL"/>
              </a:defPPr>
              <a:lvl1pPr marL="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2009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44018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16027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88036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0045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432054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504063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760720" algn="l" defTabSz="144018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2133"/>
            </a:p>
          </p:txBody>
        </p:sp>
      </p:grpSp>
      <p:sp>
        <p:nvSpPr>
          <p:cNvPr id="20" name="Título 30">
            <a:extLst>
              <a:ext uri="{FF2B5EF4-FFF2-40B4-BE49-F238E27FC236}">
                <a16:creationId xmlns="" xmlns:a16="http://schemas.microsoft.com/office/drawing/2014/main" id="{2837BED0-AB87-6D42-AA10-096AD17E8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 y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desestrobado</a:t>
            </a:r>
            <a:endParaRPr lang="es-CL" sz="2438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7EEDCFEA-2E76-2A4E-A6EE-98128E29AB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0E173947-E578-684A-917F-9DB1B37B879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16511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8 Imagen"/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5593" b="319"/>
          <a:stretch/>
        </p:blipFill>
        <p:spPr bwMode="auto">
          <a:xfrm>
            <a:off x="4484214" y="1512327"/>
            <a:ext cx="7708578" cy="534567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E421CC81-05FC-5945-B0FF-A6962DBDD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94" y="663943"/>
            <a:ext cx="4391330" cy="464608"/>
          </a:xfrm>
        </p:spPr>
        <p:txBody>
          <a:bodyPr vert="horz">
            <a:normAutofit fontScale="90000"/>
          </a:bodyPr>
          <a:lstStyle/>
          <a:p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Operación de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estrobado</a:t>
            </a:r>
            <a:r>
              <a:rPr lang="es-CL" sz="2438" dirty="0">
                <a:solidFill>
                  <a:srgbClr val="15C047"/>
                </a:solidFill>
                <a:latin typeface="ACHS Nueva Serif" pitchFamily="2" charset="77"/>
              </a:rPr>
              <a:t> y </a:t>
            </a:r>
            <a:r>
              <a:rPr lang="es-CL" sz="2438" dirty="0" err="1">
                <a:solidFill>
                  <a:srgbClr val="15C047"/>
                </a:solidFill>
                <a:latin typeface="ACHS Nueva Serif" pitchFamily="2" charset="77"/>
              </a:rPr>
              <a:t>desestrobado</a:t>
            </a:r>
            <a:endParaRPr lang="es-CL" sz="2438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4726878A-AED4-9B49-98C4-EAA170E2F7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355A57D6-BB00-044C-96DC-F2A5C2BEBF7A}"/>
              </a:ext>
            </a:extLst>
          </p:cNvPr>
          <p:cNvSpPr txBox="1">
            <a:spLocks/>
          </p:cNvSpPr>
          <p:nvPr/>
        </p:nvSpPr>
        <p:spPr>
          <a:xfrm>
            <a:off x="568550" y="1512328"/>
            <a:ext cx="3433449" cy="890144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Desestrobado:</a:t>
            </a: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Espere en zona de seguridad que la máquina se detenga y suelte la carga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Evalúe que no existan ramas tensionadas y soltar estrobos.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i algún estrobo se encuentra con la abertura del deslizador hacia la corteza, apretado o debajo del trozo, ubíquese en zona de seguridad e indicar al operador que levante carga y luego suelte. </a:t>
            </a:r>
          </a:p>
          <a:p>
            <a:pPr marL="261256" indent="-261256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i aún no logra liberar los estrobos, solicite apoyo a la máquina de ordenamiento          en cancha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9" name="Conector recto 6">
            <a:extLst>
              <a:ext uri="{FF2B5EF4-FFF2-40B4-BE49-F238E27FC236}">
                <a16:creationId xmlns="" xmlns:a16="http://schemas.microsoft.com/office/drawing/2014/main" id="{8897A103-4523-C44F-8217-1792DE133086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0330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1044630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5">
            <a:extLst>
              <a:ext uri="{FF2B5EF4-FFF2-40B4-BE49-F238E27FC236}">
                <a16:creationId xmlns="" xmlns:a16="http://schemas.microsoft.com/office/drawing/2014/main" id="{7A94627E-658E-0A44-A7BA-C58D808BDAA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86"/>
          <a:stretch/>
        </p:blipFill>
        <p:spPr>
          <a:xfrm>
            <a:off x="4508896" y="1512330"/>
            <a:ext cx="7708578" cy="5345670"/>
          </a:xfrm>
          <a:prstGeom prst="rect">
            <a:avLst/>
          </a:prstGeom>
        </p:spPr>
      </p:pic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59905B7A-5F19-004F-808F-69785A34E6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1" name="Marcador de texto 31">
            <a:extLst>
              <a:ext uri="{FF2B5EF4-FFF2-40B4-BE49-F238E27FC236}">
                <a16:creationId xmlns="" xmlns:a16="http://schemas.microsoft.com/office/drawing/2014/main" id="{E51D858E-27C8-F74D-857D-870297247CCD}"/>
              </a:ext>
            </a:extLst>
          </p:cNvPr>
          <p:cNvSpPr txBox="1">
            <a:spLocks/>
          </p:cNvSpPr>
          <p:nvPr/>
        </p:nvSpPr>
        <p:spPr>
          <a:xfrm>
            <a:off x="582494" y="1512330"/>
            <a:ext cx="3433449" cy="508501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r>
              <a:rPr lang="es-CL" sz="1600" dirty="0">
                <a:solidFill>
                  <a:srgbClr val="0C662F"/>
                </a:solidFill>
                <a:latin typeface="ACHS Nueva Serif" pitchFamily="2" charset="77"/>
                <a:cs typeface="Catamaran Light" panose="00000400000000000000" pitchFamily="2" charset="0"/>
              </a:rPr>
              <a:t>Siempre tenga presente las siguientes recomendaciones para hacer un trabajo seguro:</a:t>
            </a: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endParaRPr lang="es-CL" sz="1600" b="1" i="1" dirty="0">
              <a:cs typeface="Catamaran Light" panose="00000400000000000000" pitchFamily="2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Siempre realice su trabajo con elementos de protección personal en buen estado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Respete la distancia de seguridad con equipos de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madereo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 y frentes de volteo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Realice el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estrobado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 desde su base, a una distancia que evite los atascos, utilizando las técnicas definidas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Siempre utilice cables y estrobos en buen estado. </a:t>
            </a: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724CCECF-4AD0-5045-8F7A-BA2EEF17DCD2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9B86C5CE-9A53-EF44-8873-48E02299980F}"/>
              </a:ext>
            </a:extLst>
          </p:cNvPr>
          <p:cNvSpPr txBox="1">
            <a:spLocks/>
          </p:cNvSpPr>
          <p:nvPr/>
        </p:nvSpPr>
        <p:spPr>
          <a:xfrm>
            <a:off x="582494" y="623527"/>
            <a:ext cx="4391330" cy="46460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onclusion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8116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20">
            <a:extLst>
              <a:ext uri="{FF2B5EF4-FFF2-40B4-BE49-F238E27FC236}">
                <a16:creationId xmlns="" xmlns:a16="http://schemas.microsoft.com/office/drawing/2014/main" id="{52EB2D13-629D-9A4A-A1A2-E1508AD73ACE}"/>
              </a:ext>
            </a:extLst>
          </p:cNvPr>
          <p:cNvSpPr/>
          <p:nvPr/>
        </p:nvSpPr>
        <p:spPr>
          <a:xfrm>
            <a:off x="1" y="159"/>
            <a:ext cx="6096794" cy="6858893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/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1CFDA78B-21A8-8B45-B9A6-0C550543CDA7}"/>
              </a:ext>
            </a:extLst>
          </p:cNvPr>
          <p:cNvSpPr txBox="1">
            <a:spLocks/>
          </p:cNvSpPr>
          <p:nvPr/>
        </p:nvSpPr>
        <p:spPr>
          <a:xfrm>
            <a:off x="-1171794" y="494999"/>
            <a:ext cx="4711019" cy="464911"/>
          </a:xfrm>
          <a:prstGeom prst="rect">
            <a:avLst/>
          </a:prstGeom>
        </p:spPr>
        <p:txBody>
          <a:bodyPr vert="horz" lIns="109742" tIns="54871" rIns="109742" bIns="54871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Objetivos</a:t>
            </a:r>
          </a:p>
        </p:txBody>
      </p:sp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E44D50C1-E0FA-8649-8CAB-8AAFA29B6E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CF02F066-6F98-EC4C-88E0-F03B3282032B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1 Rectángulo">
            <a:extLst>
              <a:ext uri="{FF2B5EF4-FFF2-40B4-BE49-F238E27FC236}">
                <a16:creationId xmlns="" xmlns:a16="http://schemas.microsoft.com/office/drawing/2014/main" id="{514F6CC3-E681-4749-99BA-2D21F3904D87}"/>
              </a:ext>
            </a:extLst>
          </p:cNvPr>
          <p:cNvSpPr/>
          <p:nvPr/>
        </p:nvSpPr>
        <p:spPr>
          <a:xfrm>
            <a:off x="1128352" y="2979594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24" name="18 Rectángulo">
            <a:extLst>
              <a:ext uri="{FF2B5EF4-FFF2-40B4-BE49-F238E27FC236}">
                <a16:creationId xmlns="" xmlns:a16="http://schemas.microsoft.com/office/drawing/2014/main" id="{2078E029-A5EC-794B-B7C3-ABAD70D4C8F2}"/>
              </a:ext>
            </a:extLst>
          </p:cNvPr>
          <p:cNvSpPr/>
          <p:nvPr/>
        </p:nvSpPr>
        <p:spPr>
          <a:xfrm>
            <a:off x="6748367" y="3438203"/>
            <a:ext cx="4749457" cy="85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Medium" pitchFamily="2" charset="77"/>
              </a:rPr>
              <a:t>Ser trabajador de empresas que se encuentra adheridas a la ACHS.</a:t>
            </a:r>
            <a:endParaRPr lang="es-CL" sz="1600" dirty="0">
              <a:latin typeface="ACHS Nueva Sans Medium" pitchFamily="2" charset="77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5" name="21 Rectángulo">
            <a:extLst>
              <a:ext uri="{FF2B5EF4-FFF2-40B4-BE49-F238E27FC236}">
                <a16:creationId xmlns="" xmlns:a16="http://schemas.microsoft.com/office/drawing/2014/main" id="{497EBFB3-6A44-9247-976B-7A736587374A}"/>
              </a:ext>
            </a:extLst>
          </p:cNvPr>
          <p:cNvSpPr/>
          <p:nvPr/>
        </p:nvSpPr>
        <p:spPr>
          <a:xfrm>
            <a:off x="1128353" y="3446862"/>
            <a:ext cx="43066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MX" sz="1600" dirty="0">
                <a:latin typeface="ACHS Nueva Sans Medium" pitchFamily="2" charset="77"/>
              </a:rPr>
              <a:t>Aplicar prácticas seguras en las labores de estroberos de tractores de madereo, según los lineamientos de la              presente charla.</a:t>
            </a:r>
            <a:endParaRPr lang="es-CL" sz="1600" dirty="0">
              <a:latin typeface="ACHS Nueva Sans Medium" pitchFamily="2" charset="77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6" name="21 Rectángulo">
            <a:extLst>
              <a:ext uri="{FF2B5EF4-FFF2-40B4-BE49-F238E27FC236}">
                <a16:creationId xmlns="" xmlns:a16="http://schemas.microsoft.com/office/drawing/2014/main" id="{9B02E701-8733-BE42-923B-378A20ECDC98}"/>
              </a:ext>
            </a:extLst>
          </p:cNvPr>
          <p:cNvSpPr/>
          <p:nvPr/>
        </p:nvSpPr>
        <p:spPr>
          <a:xfrm>
            <a:off x="6752027" y="2970936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D489A40A-9C46-E648-99C7-2DA7088DAE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4929" y="1892216"/>
            <a:ext cx="788315" cy="775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A3F185B1-02C1-7F45-BB9C-7FD61AC67B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48366" y="1859232"/>
            <a:ext cx="801030" cy="80103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2158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5">
            <a:extLst>
              <a:ext uri="{FF2B5EF4-FFF2-40B4-BE49-F238E27FC236}">
                <a16:creationId xmlns="" xmlns:a16="http://schemas.microsoft.com/office/drawing/2014/main" id="{7A94627E-658E-0A44-A7BA-C58D808BDAA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86"/>
          <a:stretch/>
        </p:blipFill>
        <p:spPr>
          <a:xfrm>
            <a:off x="4508896" y="1512330"/>
            <a:ext cx="7708578" cy="5345670"/>
          </a:xfrm>
          <a:prstGeom prst="rect">
            <a:avLst/>
          </a:prstGeom>
        </p:spPr>
      </p:pic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59905B7A-5F19-004F-808F-69785A34E6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1" name="Marcador de texto 31">
            <a:extLst>
              <a:ext uri="{FF2B5EF4-FFF2-40B4-BE49-F238E27FC236}">
                <a16:creationId xmlns="" xmlns:a16="http://schemas.microsoft.com/office/drawing/2014/main" id="{E51D858E-27C8-F74D-857D-870297247CCD}"/>
              </a:ext>
            </a:extLst>
          </p:cNvPr>
          <p:cNvSpPr txBox="1">
            <a:spLocks/>
          </p:cNvSpPr>
          <p:nvPr/>
        </p:nvSpPr>
        <p:spPr>
          <a:xfrm>
            <a:off x="582494" y="1512330"/>
            <a:ext cx="3433449" cy="508501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 startAt="5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Realice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estrobado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 siempre en coordinación visual con operador del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Skidder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. Máquina y Huinche detenidos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 startAt="5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Amarrar la cantidad de árboles de acuerdo a la capacidad de arrastre                     del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Skidder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 startAt="5"/>
            </a:pP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Estrobe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 árboles que se encuentren sobre otros, nunca los que se encuentran aplastadas o aprisionadas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 startAt="5"/>
            </a:pP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Tener definida y señalizada zona de seguridad en cancha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15C047"/>
              </a:buClr>
              <a:buFont typeface="+mj-lt"/>
              <a:buAutoNum type="arabicPeriod" startAt="5"/>
            </a:pP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Desestrobe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 siempre desde el suelo, nunca se suba sobre los fustes que va a </a:t>
            </a:r>
            <a:r>
              <a:rPr lang="es-ES_tradnl" altLang="es-CL" sz="1600" dirty="0" err="1">
                <a:solidFill>
                  <a:schemeClr val="tx1"/>
                </a:solidFill>
                <a:latin typeface="ACHS Nueva Sans Medium" pitchFamily="2" charset="77"/>
              </a:rPr>
              <a:t>desestrobar</a:t>
            </a:r>
            <a:r>
              <a:rPr lang="es-ES_tradnl" altLang="es-CL" sz="1600" dirty="0">
                <a:solidFill>
                  <a:schemeClr val="tx1"/>
                </a:solidFill>
                <a:latin typeface="ACHS Nueva Sans Medium" pitchFamily="2" charset="77"/>
              </a:rPr>
              <a:t>. </a:t>
            </a: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CL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+mj-lt"/>
              <a:buAutoNum type="arabicPeriod" startAt="5"/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+mj-lt"/>
              <a:buAutoNum type="arabicPeriod" startAt="5"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724CCECF-4AD0-5045-8F7A-BA2EEF17DCD2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9B86C5CE-9A53-EF44-8873-48E02299980F}"/>
              </a:ext>
            </a:extLst>
          </p:cNvPr>
          <p:cNvSpPr txBox="1">
            <a:spLocks/>
          </p:cNvSpPr>
          <p:nvPr/>
        </p:nvSpPr>
        <p:spPr>
          <a:xfrm>
            <a:off x="582494" y="623527"/>
            <a:ext cx="4391330" cy="46460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onclusion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9343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794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3749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9246" y="292397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913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73015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794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4056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2478" y="2967164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4475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72342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36461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446E48B3-4CCD-3D49-A610-F777FD594D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908315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6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88058"/>
            <a:ext cx="5312220" cy="464608"/>
          </a:xfrm>
        </p:spPr>
        <p:txBody>
          <a:bodyPr vert="horz"/>
          <a:lstStyle/>
          <a:p>
            <a:r>
              <a:rPr lang="es-CL" sz="2000" b="0" dirty="0">
                <a:solidFill>
                  <a:srgbClr val="15C047"/>
                </a:solidFill>
                <a:latin typeface="ACHS Nueva Serif" pitchFamily="2" charset="77"/>
              </a:rPr>
              <a:t>Introducción: Definiciones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9"/>
          <a:srcRect l="-269" t="1312" r="4757" b="-404"/>
          <a:stretch/>
        </p:blipFill>
        <p:spPr>
          <a:xfrm>
            <a:off x="4471966" y="1523553"/>
            <a:ext cx="7708578" cy="5360483"/>
          </a:xfrm>
          <a:prstGeom prst="rect">
            <a:avLst/>
          </a:prstGeom>
        </p:spPr>
      </p:pic>
      <p:sp>
        <p:nvSpPr>
          <p:cNvPr id="14" name="Marcador de texto 31">
            <a:extLst>
              <a:ext uri="{FF2B5EF4-FFF2-40B4-BE49-F238E27FC236}">
                <a16:creationId xmlns="" xmlns:a16="http://schemas.microsoft.com/office/drawing/2014/main" id="{C3068DBA-0169-7448-960C-BBB9024466A2}"/>
              </a:ext>
            </a:extLst>
          </p:cNvPr>
          <p:cNvSpPr txBox="1">
            <a:spLocks/>
          </p:cNvSpPr>
          <p:nvPr/>
        </p:nvSpPr>
        <p:spPr>
          <a:xfrm>
            <a:off x="568550" y="1518109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Skidder: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ES_tradnl" altLang="es-CL" sz="1600" kern="0" dirty="0">
              <a:latin typeface="ACHS Nueva Sans Medium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Tractor maderero, tiene un centro de gravedad bajo lo cual genera buena estabilidad, para operar en pendientes de hasta 35%. 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ES_tradnl" altLang="es-CL" sz="1600" kern="0" dirty="0">
              <a:latin typeface="ACHS Nueva Sans Medium" pitchFamily="2" charset="77"/>
            </a:endParaRP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La capacidad de arrastre depende de la potencia de máquina, el tipo de suelo y la pendient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</p:txBody>
      </p:sp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B71AA42B-01EE-9348-A86F-BFA55F412573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7339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9439129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1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8"/>
          <a:srcRect l="10303" t="149" r="7866" b="-149"/>
          <a:stretch/>
        </p:blipFill>
        <p:spPr>
          <a:xfrm>
            <a:off x="4471966" y="1559253"/>
            <a:ext cx="7708578" cy="5298747"/>
          </a:xfrm>
          <a:prstGeom prst="rect">
            <a:avLst/>
          </a:prstGeom>
        </p:spPr>
      </p:pic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5337D7D2-9CF3-2F48-ABD1-62EE1F54E0D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42BF5665-784C-7F4C-A47D-BA46FDB68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88058"/>
            <a:ext cx="5312220" cy="464608"/>
          </a:xfrm>
        </p:spPr>
        <p:txBody>
          <a:bodyPr vert="horz"/>
          <a:lstStyle/>
          <a:p>
            <a:r>
              <a:rPr lang="es-CL" sz="2000" b="0" dirty="0">
                <a:solidFill>
                  <a:srgbClr val="15C047"/>
                </a:solidFill>
                <a:latin typeface="ACHS Nueva Serif" pitchFamily="2" charset="77"/>
              </a:rPr>
              <a:t>Introducción: Definiciones</a:t>
            </a:r>
          </a:p>
        </p:txBody>
      </p:sp>
      <p:sp>
        <p:nvSpPr>
          <p:cNvPr id="14" name="Marcador de texto 31">
            <a:extLst>
              <a:ext uri="{FF2B5EF4-FFF2-40B4-BE49-F238E27FC236}">
                <a16:creationId xmlns="" xmlns:a16="http://schemas.microsoft.com/office/drawing/2014/main" id="{22169A13-CCA2-C244-81E7-DD4CB36CB1CA}"/>
              </a:ext>
            </a:extLst>
          </p:cNvPr>
          <p:cNvSpPr txBox="1">
            <a:spLocks/>
          </p:cNvSpPr>
          <p:nvPr/>
        </p:nvSpPr>
        <p:spPr>
          <a:xfrm>
            <a:off x="568550" y="1518109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solidFill>
                  <a:srgbClr val="15C047"/>
                </a:solidFill>
                <a:latin typeface="ACHS Nueva Serif" pitchFamily="2" charset="77"/>
              </a:rPr>
              <a:t>Estrobero: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ES_tradn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Persona encargada de seleccionar los fustes y amarrarlos con un estrobo. Posteriormente los engancha a un cable a través de un deslizador, para finalmente ser </a:t>
            </a:r>
            <a:r>
              <a:rPr lang="es-ES_tradnl" altLang="es-CL" sz="1600" kern="0" dirty="0" err="1">
                <a:latin typeface="ACHS Nueva Sans Medium" pitchFamily="2" charset="77"/>
              </a:rPr>
              <a:t>madereados</a:t>
            </a:r>
            <a:r>
              <a:rPr lang="es-ES_tradnl" altLang="es-CL" sz="1600" kern="0" dirty="0">
                <a:latin typeface="ACHS Nueva Sans Medium" pitchFamily="2" charset="77"/>
              </a:rPr>
              <a:t> por </a:t>
            </a:r>
            <a:r>
              <a:rPr lang="es-ES_tradnl" altLang="es-CL" sz="1600" kern="0" dirty="0" err="1">
                <a:latin typeface="ACHS Nueva Sans Medium" pitchFamily="2" charset="77"/>
              </a:rPr>
              <a:t>skidder</a:t>
            </a:r>
            <a:r>
              <a:rPr lang="es-ES_tradnl" altLang="es-CL" sz="1600" kern="0" dirty="0">
                <a:latin typeface="ACHS Nueva Sans Medium" pitchFamily="2" charset="77"/>
              </a:rPr>
              <a:t> en dirección a canchas de acopio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ES_tradn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El </a:t>
            </a:r>
            <a:r>
              <a:rPr lang="es-ES_tradnl" altLang="es-CL" sz="1600" kern="0" dirty="0" err="1">
                <a:latin typeface="ACHS Nueva Sans Medium" pitchFamily="2" charset="77"/>
              </a:rPr>
              <a:t>Estrobero</a:t>
            </a:r>
            <a:r>
              <a:rPr lang="es-ES_tradnl" altLang="es-CL" sz="1600" kern="0" dirty="0">
                <a:latin typeface="ACHS Nueva Sans Medium" pitchFamily="2" charset="77"/>
              </a:rPr>
              <a:t> también puede realizar la función de </a:t>
            </a:r>
            <a:r>
              <a:rPr lang="es-ES_tradnl" altLang="es-CL" sz="1600" kern="0" dirty="0" err="1">
                <a:latin typeface="ACHS Nueva Sans Medium" pitchFamily="2" charset="77"/>
              </a:rPr>
              <a:t>Desestrobado</a:t>
            </a:r>
            <a:r>
              <a:rPr lang="es-ES_tradnl" altLang="es-CL" sz="1600" kern="0" dirty="0">
                <a:latin typeface="ACHS Nueva Sans Medium" pitchFamily="2" charset="77"/>
              </a:rPr>
              <a:t>, la cual consiste en soltar los estrobos para liberar la carga del </a:t>
            </a:r>
            <a:r>
              <a:rPr lang="es-ES_tradnl" altLang="es-CL" sz="1600" kern="0" dirty="0" err="1">
                <a:latin typeface="ACHS Nueva Sans Medium" pitchFamily="2" charset="77"/>
              </a:rPr>
              <a:t>skidder</a:t>
            </a:r>
            <a:r>
              <a:rPr lang="es-ES_tradnl" altLang="es-CL" sz="1600" kern="0" dirty="0">
                <a:latin typeface="ACHS Nueva Sans Medium" pitchFamily="2" charset="77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</p:txBody>
      </p:sp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3F6C18F6-CE8C-514F-8A39-02B13DCC1360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175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88058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Equipos y herramientas</a:t>
            </a: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5752085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4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608201" y="1412776"/>
            <a:ext cx="4391330" cy="4279333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ES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800" kern="0" dirty="0">
                <a:solidFill>
                  <a:srgbClr val="15C047"/>
                </a:solidFill>
                <a:latin typeface="ACHS Nueva Serif" pitchFamily="2" charset="77"/>
              </a:rPr>
              <a:t>Cable de acero: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El cable de acero utilizado en los </a:t>
            </a:r>
            <a:r>
              <a:rPr lang="es-ES_tradnl" altLang="es-CL" sz="1600" kern="0" dirty="0" err="1">
                <a:latin typeface="ACHS Nueva Sans Medium" pitchFamily="2" charset="77"/>
              </a:rPr>
              <a:t>Skidder</a:t>
            </a:r>
            <a:r>
              <a:rPr lang="es-ES_tradnl" altLang="es-CL" sz="1600" kern="0" dirty="0">
                <a:latin typeface="ACHS Nueva Sans Medium" pitchFamily="2" charset="77"/>
              </a:rPr>
              <a:t> Huinche, son generalmente de dos medidas: ¾¨  y  9/16¨.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</p:txBody>
      </p:sp>
      <p:sp>
        <p:nvSpPr>
          <p:cNvPr id="11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6261383" y="1412776"/>
            <a:ext cx="4391330" cy="4279333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ES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800" kern="0" dirty="0">
                <a:solidFill>
                  <a:srgbClr val="15C047"/>
                </a:solidFill>
                <a:latin typeface="ACHS Nueva Serif" pitchFamily="2" charset="77"/>
              </a:rPr>
              <a:t>Estrobos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_tradnl" altLang="es-CL" sz="1600" kern="0" dirty="0">
                <a:latin typeface="ACHS Nueva Sans Medium" pitchFamily="2" charset="77"/>
              </a:rPr>
              <a:t>Cables de acero de 2 </a:t>
            </a:r>
            <a:r>
              <a:rPr lang="es-ES_tradnl" altLang="es-CL" sz="1600" kern="0" dirty="0" err="1">
                <a:latin typeface="ACHS Nueva Sans Medium" pitchFamily="2" charset="77"/>
              </a:rPr>
              <a:t>mt</a:t>
            </a:r>
            <a:r>
              <a:rPr lang="es-ES_tradnl" altLang="es-CL" sz="1600" kern="0" dirty="0">
                <a:latin typeface="ACHS Nueva Sans Medium" pitchFamily="2" charset="77"/>
              </a:rPr>
              <a:t> de largo y diámetro 9/16´´, con deslizador y tope.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ES_tradnl" alt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600" kern="0" dirty="0">
              <a:solidFill>
                <a:srgbClr val="8A8A8A">
                  <a:lumMod val="75000"/>
                </a:srgbClr>
              </a:solidFill>
              <a:latin typeface="ACHS Nueva Sans Medium" pitchFamily="2" charset="77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4824" y="3291167"/>
            <a:ext cx="4287889" cy="2510669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9"/>
          <a:srcRect b="8721"/>
          <a:stretch/>
        </p:blipFill>
        <p:spPr>
          <a:xfrm>
            <a:off x="695907" y="3387853"/>
            <a:ext cx="4303623" cy="2413982"/>
          </a:xfrm>
          <a:prstGeom prst="rect">
            <a:avLst/>
          </a:prstGeom>
        </p:spPr>
      </p:pic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C01281D5-6FB2-944F-96C2-19BC38D943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1CB427C9-F4F1-344C-9217-62CEAA8A7FC5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61303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729221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8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17959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Acople y desacople rápido</a:t>
            </a:r>
          </a:p>
        </p:txBody>
      </p:sp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03A49281-67A5-6744-82B2-649A37433A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pic>
        <p:nvPicPr>
          <p:cNvPr id="11" name="17 Imagen" descr="C:\ACHS\FOTOS PROYECTO\ACOPLE RAPIDO\la foto 1.JPG">
            <a:extLst>
              <a:ext uri="{FF2B5EF4-FFF2-40B4-BE49-F238E27FC236}">
                <a16:creationId xmlns="" xmlns:a16="http://schemas.microsoft.com/office/drawing/2014/main" id="{B069C06A-15DD-064A-854B-F00884EAB8D8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8519" y="3999073"/>
            <a:ext cx="6094273" cy="2858927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12" name="18 Imagen" descr="C:\ACHS\FOTOS PROYECTO\ACOPLE RAPIDO\la foto 2.JPG">
            <a:extLst>
              <a:ext uri="{FF2B5EF4-FFF2-40B4-BE49-F238E27FC236}">
                <a16:creationId xmlns="" xmlns:a16="http://schemas.microsoft.com/office/drawing/2014/main" id="{0C414DFA-87FE-3A4E-92E3-69AF976895C3}"/>
              </a:ext>
            </a:extLst>
          </p:cNvPr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45"/>
          <a:stretch/>
        </p:blipFill>
        <p:spPr bwMode="auto">
          <a:xfrm>
            <a:off x="4484214" y="1512329"/>
            <a:ext cx="7708578" cy="5365191"/>
          </a:xfrm>
          <a:prstGeom prst="rect">
            <a:avLst/>
          </a:prstGeom>
          <a:noFill/>
          <a:ln w="12700">
            <a:noFill/>
          </a:ln>
        </p:spPr>
      </p:pic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F5D2BA96-C065-7546-8F39-F7EC7EDACDAF}"/>
              </a:ext>
            </a:extLst>
          </p:cNvPr>
          <p:cNvSpPr txBox="1">
            <a:spLocks/>
          </p:cNvSpPr>
          <p:nvPr/>
        </p:nvSpPr>
        <p:spPr>
          <a:xfrm>
            <a:off x="568550" y="1512329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Consiste en</a:t>
            </a: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 un par de eslabones que presentan una pequeña abertura, lo que permite acoplar           y desacoplar. </a:t>
            </a:r>
          </a:p>
          <a:p>
            <a:pPr marL="0" indent="0">
              <a:buNone/>
            </a:pPr>
            <a:r>
              <a:rPr lang="es-CL" sz="1600" kern="0" dirty="0">
                <a:solidFill>
                  <a:schemeClr val="tx1"/>
                </a:solidFill>
                <a:latin typeface="ACHS Nueva Sans Medium" pitchFamily="2" charset="77"/>
              </a:rPr>
              <a:t>De esta manera, se puede conectar rápidamente un nuevo eslabón inferior con su correspondiente “T” y juego de estrobos.</a:t>
            </a: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 Se utiliza para </a:t>
            </a:r>
            <a:r>
              <a:rPr lang="es-ES" sz="1600" kern="0" dirty="0" err="1">
                <a:solidFill>
                  <a:schemeClr val="tx1"/>
                </a:solidFill>
                <a:latin typeface="ACHS Nueva Sans Medium" pitchFamily="2" charset="77"/>
              </a:rPr>
              <a:t>madereos</a:t>
            </a: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 en bosques de            menor diámetro.</a:t>
            </a: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</a:rPr>
              <a:t>Se toman ambos acoples, colocando uno de ellos frente al otro en forma perpendicular. Luego se conecta y se gira, quedando unidos y formando algo similar a los eslabones de una cadena. </a:t>
            </a: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4" name="Conector recto 6">
            <a:extLst>
              <a:ext uri="{FF2B5EF4-FFF2-40B4-BE49-F238E27FC236}">
                <a16:creationId xmlns="" xmlns:a16="http://schemas.microsoft.com/office/drawing/2014/main" id="{D6EE8811-50A1-CD43-9BCC-20F24A7F4F0D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9263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94668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" name="Conector recto 6">
            <a:extLst>
              <a:ext uri="{FF2B5EF4-FFF2-40B4-BE49-F238E27FC236}">
                <a16:creationId xmlns="" xmlns:a16="http://schemas.microsoft.com/office/drawing/2014/main" id="{DD8A96F9-5882-B84F-AFE8-D67589ED55DC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0" name="Título 30">
            <a:extLst>
              <a:ext uri="{FF2B5EF4-FFF2-40B4-BE49-F238E27FC236}">
                <a16:creationId xmlns="" xmlns:a16="http://schemas.microsoft.com/office/drawing/2014/main" id="{DA9D2A8B-3930-E74C-B430-347A96874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439133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ans Medium" pitchFamily="2" charset="77"/>
              </a:rPr>
              <a:t>Equipos de protección personal</a:t>
            </a:r>
          </a:p>
        </p:txBody>
      </p:sp>
      <p:pic>
        <p:nvPicPr>
          <p:cNvPr id="71" name="Imagen 14">
            <a:extLst>
              <a:ext uri="{FF2B5EF4-FFF2-40B4-BE49-F238E27FC236}">
                <a16:creationId xmlns="" xmlns:a16="http://schemas.microsoft.com/office/drawing/2014/main" id="{B3ED2311-0DA5-EB4B-A9C8-0799EF44AC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2582" y="455951"/>
            <a:ext cx="527037" cy="527037"/>
          </a:xfrm>
          <a:prstGeom prst="rect">
            <a:avLst/>
          </a:prstGeom>
        </p:spPr>
      </p:pic>
      <p:pic>
        <p:nvPicPr>
          <p:cNvPr id="92" name="Imagen 5">
            <a:extLst>
              <a:ext uri="{FF2B5EF4-FFF2-40B4-BE49-F238E27FC236}">
                <a16:creationId xmlns="" xmlns:a16="http://schemas.microsoft.com/office/drawing/2014/main" id="{B8C6CD9C-C3E4-674E-AEDD-F3E17600E2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8A1C5528-4B1E-D540-8A1B-4FA87C53D91C}"/>
              </a:ext>
            </a:extLst>
          </p:cNvPr>
          <p:cNvGrpSpPr/>
          <p:nvPr/>
        </p:nvGrpSpPr>
        <p:grpSpPr>
          <a:xfrm>
            <a:off x="410263" y="1916832"/>
            <a:ext cx="11373061" cy="3841821"/>
            <a:chOff x="405415" y="2279523"/>
            <a:chExt cx="11373061" cy="3841821"/>
          </a:xfrm>
        </p:grpSpPr>
        <p:grpSp>
          <p:nvGrpSpPr>
            <p:cNvPr id="36" name="Group 35">
              <a:extLst>
                <a:ext uri="{FF2B5EF4-FFF2-40B4-BE49-F238E27FC236}">
                  <a16:creationId xmlns="" xmlns:a16="http://schemas.microsoft.com/office/drawing/2014/main" id="{B875D958-4C58-4C4F-9971-8A855C4944E7}"/>
                </a:ext>
              </a:extLst>
            </p:cNvPr>
            <p:cNvGrpSpPr/>
            <p:nvPr/>
          </p:nvGrpSpPr>
          <p:grpSpPr>
            <a:xfrm>
              <a:off x="405415" y="3822985"/>
              <a:ext cx="3575885" cy="755195"/>
              <a:chOff x="4339177" y="3819567"/>
              <a:chExt cx="3575885" cy="755195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="" xmlns:a16="http://schemas.microsoft.com/office/drawing/2014/main" id="{D0E59C87-3AF1-074D-BAD1-2E010D3819AE}"/>
                  </a:ext>
                </a:extLst>
              </p:cNvPr>
              <p:cNvGrpSpPr/>
              <p:nvPr/>
            </p:nvGrpSpPr>
            <p:grpSpPr>
              <a:xfrm>
                <a:off x="4339177" y="3819567"/>
                <a:ext cx="3572298" cy="755195"/>
                <a:chOff x="3182926" y="5568619"/>
                <a:chExt cx="3572298" cy="755195"/>
              </a:xfrm>
            </p:grpSpPr>
            <p:sp>
              <p:nvSpPr>
                <p:cNvPr id="61" name="Google Shape;1428;p39">
                  <a:extLst>
                    <a:ext uri="{FF2B5EF4-FFF2-40B4-BE49-F238E27FC236}">
                      <a16:creationId xmlns="" xmlns:a16="http://schemas.microsoft.com/office/drawing/2014/main" id="{D4B7166C-ABE4-B44D-91EB-FF57B13FBE93}"/>
                    </a:ext>
                  </a:extLst>
                </p:cNvPr>
                <p:cNvSpPr/>
                <p:nvPr/>
              </p:nvSpPr>
              <p:spPr>
                <a:xfrm>
                  <a:off x="3560523" y="5572333"/>
                  <a:ext cx="3194701" cy="751481"/>
                </a:xfrm>
                <a:prstGeom prst="rect">
                  <a:avLst/>
                </a:prstGeom>
                <a:solidFill>
                  <a:srgbClr val="E9EADD"/>
                </a:solidFill>
                <a:ln>
                  <a:noFill/>
                </a:ln>
              </p:spPr>
              <p:txBody>
                <a:bodyPr spcFirstLastPara="1" wrap="square" lIns="900000" tIns="0" rIns="0" bIns="0" anchor="ctr" anchorCtr="0">
                  <a:noAutofit/>
                </a:bodyPr>
                <a:lstStyle/>
                <a:p>
                  <a:pPr>
                    <a:buClr>
                      <a:srgbClr val="004B54"/>
                    </a:buClr>
                    <a:buSzPct val="100000"/>
                  </a:pPr>
                  <a:endParaRPr lang="es-CL" sz="1400" kern="0" dirty="0">
                    <a:solidFill>
                      <a:srgbClr val="15C047"/>
                    </a:solidFill>
                    <a:latin typeface="ACHS Nueva Sans Medium" pitchFamily="2" charset="77"/>
                  </a:endParaRPr>
                </a:p>
              </p:txBody>
            </p:sp>
            <p:sp>
              <p:nvSpPr>
                <p:cNvPr id="62" name="Google Shape;1431;p39">
                  <a:extLst>
                    <a:ext uri="{FF2B5EF4-FFF2-40B4-BE49-F238E27FC236}">
                      <a16:creationId xmlns="" xmlns:a16="http://schemas.microsoft.com/office/drawing/2014/main" id="{177D80BB-1F3A-C64F-99DC-003622DB8146}"/>
                    </a:ext>
                  </a:extLst>
                </p:cNvPr>
                <p:cNvSpPr/>
                <p:nvPr/>
              </p:nvSpPr>
              <p:spPr>
                <a:xfrm>
                  <a:off x="3182926" y="5568619"/>
                  <a:ext cx="755195" cy="755195"/>
                </a:xfrm>
                <a:prstGeom prst="ellipse">
                  <a:avLst/>
                </a:prstGeom>
                <a:solidFill>
                  <a:srgbClr val="15BF45"/>
                </a:solidFill>
                <a:ln>
                  <a:noFill/>
                </a:ln>
              </p:spPr>
              <p:txBody>
                <a:bodyPr spcFirstLastPara="1" wrap="square" lIns="72000" tIns="72000" rIns="72000" bIns="72000" anchor="t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3F3F3F"/>
                    </a:buClr>
                    <a:buSzPts val="1200"/>
                    <a:buFont typeface="Arial"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59" name="Marcador de texto 31">
                <a:extLst>
                  <a:ext uri="{FF2B5EF4-FFF2-40B4-BE49-F238E27FC236}">
                    <a16:creationId xmlns="" xmlns:a16="http://schemas.microsoft.com/office/drawing/2014/main" id="{8F440F1E-824B-A34A-8D4A-EC63FA6DCF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35694" y="3861897"/>
                <a:ext cx="454551" cy="607041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99600" marR="0" indent="-399600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1pPr>
                <a:lvl2pPr marL="1465196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2pPr>
                <a:lvl3pPr marL="1864794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3pPr>
                <a:lvl4pPr marL="2264393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4pPr>
                <a:lvl5pPr marL="2663992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5pPr>
                <a:lvl6pPr marL="2963690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6pPr>
                <a:lvl7pPr marL="32633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7pPr>
                <a:lvl8pPr marL="35630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8pPr>
                <a:lvl9pPr marL="3862787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r>
                  <a:rPr lang="es-CL" sz="4800" b="1" kern="0" dirty="0">
                    <a:solidFill>
                      <a:schemeClr val="bg1"/>
                    </a:solidFill>
                    <a:latin typeface="ACHS Nueva Sans SemiBold" pitchFamily="2" charset="77"/>
                  </a:rPr>
                  <a:t>4</a:t>
                </a: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="" xmlns:a16="http://schemas.microsoft.com/office/drawing/2014/main" id="{4CA106AD-32E2-2B4D-89E7-26B248A88042}"/>
                  </a:ext>
                </a:extLst>
              </p:cNvPr>
              <p:cNvSpPr/>
              <p:nvPr/>
            </p:nvSpPr>
            <p:spPr>
              <a:xfrm>
                <a:off x="5180854" y="3856099"/>
                <a:ext cx="2734208" cy="6924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r>
                  <a:rPr lang="es-CL" sz="1300" kern="0" dirty="0">
                    <a:solidFill>
                      <a:srgbClr val="15C047"/>
                    </a:solidFill>
                    <a:latin typeface="ACHS Nueva Sans Medium" pitchFamily="2" charset="77"/>
                  </a:rPr>
                  <a:t>Casaca con refuerzo en hombros, de color vistoso               que contraste con el bosque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="" xmlns:a16="http://schemas.microsoft.com/office/drawing/2014/main" id="{9362A9D0-760F-FF47-A872-DFE4C0EB3193}"/>
                </a:ext>
              </a:extLst>
            </p:cNvPr>
            <p:cNvGrpSpPr/>
            <p:nvPr/>
          </p:nvGrpSpPr>
          <p:grpSpPr>
            <a:xfrm>
              <a:off x="4310645" y="3822985"/>
              <a:ext cx="3572298" cy="755195"/>
              <a:chOff x="415112" y="3815275"/>
              <a:chExt cx="3572298" cy="755195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="" xmlns:a16="http://schemas.microsoft.com/office/drawing/2014/main" id="{1EB4A2C4-E1F3-D744-88AC-2261C4BB3957}"/>
                  </a:ext>
                </a:extLst>
              </p:cNvPr>
              <p:cNvGrpSpPr/>
              <p:nvPr/>
            </p:nvGrpSpPr>
            <p:grpSpPr>
              <a:xfrm>
                <a:off x="415112" y="3815275"/>
                <a:ext cx="3572298" cy="755195"/>
                <a:chOff x="3182926" y="5568619"/>
                <a:chExt cx="3572298" cy="755195"/>
              </a:xfrm>
            </p:grpSpPr>
            <p:sp>
              <p:nvSpPr>
                <p:cNvPr id="67" name="Google Shape;1428;p39">
                  <a:extLst>
                    <a:ext uri="{FF2B5EF4-FFF2-40B4-BE49-F238E27FC236}">
                      <a16:creationId xmlns="" xmlns:a16="http://schemas.microsoft.com/office/drawing/2014/main" id="{AAE90DF6-97D9-FB42-969C-FE29085253E7}"/>
                    </a:ext>
                  </a:extLst>
                </p:cNvPr>
                <p:cNvSpPr/>
                <p:nvPr/>
              </p:nvSpPr>
              <p:spPr>
                <a:xfrm>
                  <a:off x="3560523" y="5572333"/>
                  <a:ext cx="3194701" cy="751481"/>
                </a:xfrm>
                <a:prstGeom prst="rect">
                  <a:avLst/>
                </a:prstGeom>
                <a:solidFill>
                  <a:srgbClr val="E9EADD"/>
                </a:solidFill>
                <a:ln>
                  <a:noFill/>
                </a:ln>
              </p:spPr>
              <p:txBody>
                <a:bodyPr spcFirstLastPara="1" wrap="square" lIns="900000" tIns="0" rIns="0" bIns="0" anchor="ctr" anchorCtr="0">
                  <a:noAutofit/>
                </a:bodyPr>
                <a:lstStyle/>
                <a:p>
                  <a:pPr>
                    <a:buClr>
                      <a:srgbClr val="004B54"/>
                    </a:buClr>
                    <a:buSzPct val="100000"/>
                  </a:pPr>
                  <a:endParaRPr lang="es-CL" sz="1400" kern="0" dirty="0">
                    <a:solidFill>
                      <a:srgbClr val="15C047"/>
                    </a:solidFill>
                    <a:latin typeface="ACHS Nueva Sans Medium" pitchFamily="2" charset="77"/>
                  </a:endParaRPr>
                </a:p>
              </p:txBody>
            </p:sp>
            <p:sp>
              <p:nvSpPr>
                <p:cNvPr id="68" name="Google Shape;1431;p39">
                  <a:extLst>
                    <a:ext uri="{FF2B5EF4-FFF2-40B4-BE49-F238E27FC236}">
                      <a16:creationId xmlns="" xmlns:a16="http://schemas.microsoft.com/office/drawing/2014/main" id="{E0A948F5-37D4-8A47-AB36-680648331CDE}"/>
                    </a:ext>
                  </a:extLst>
                </p:cNvPr>
                <p:cNvSpPr/>
                <p:nvPr/>
              </p:nvSpPr>
              <p:spPr>
                <a:xfrm>
                  <a:off x="3182926" y="5568619"/>
                  <a:ext cx="755195" cy="755195"/>
                </a:xfrm>
                <a:prstGeom prst="ellipse">
                  <a:avLst/>
                </a:prstGeom>
                <a:solidFill>
                  <a:srgbClr val="15BF45"/>
                </a:solidFill>
                <a:ln>
                  <a:noFill/>
                </a:ln>
              </p:spPr>
              <p:txBody>
                <a:bodyPr spcFirstLastPara="1" wrap="square" lIns="72000" tIns="72000" rIns="72000" bIns="72000" anchor="t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3F3F3F"/>
                    </a:buClr>
                    <a:buSzPts val="1200"/>
                    <a:buFont typeface="Arial"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65" name="Marcador de texto 31">
                <a:extLst>
                  <a:ext uri="{FF2B5EF4-FFF2-40B4-BE49-F238E27FC236}">
                    <a16:creationId xmlns="" xmlns:a16="http://schemas.microsoft.com/office/drawing/2014/main" id="{CBCD576B-A309-694E-A07B-4B316E1A54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55037" y="3861896"/>
                <a:ext cx="454551" cy="607041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99600" marR="0" indent="-399600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1pPr>
                <a:lvl2pPr marL="1465196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2pPr>
                <a:lvl3pPr marL="1864794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3pPr>
                <a:lvl4pPr marL="2264393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4pPr>
                <a:lvl5pPr marL="2663992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5pPr>
                <a:lvl6pPr marL="2963690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6pPr>
                <a:lvl7pPr marL="32633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7pPr>
                <a:lvl8pPr marL="35630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8pPr>
                <a:lvl9pPr marL="3862787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r>
                  <a:rPr lang="es-CL" sz="4800" b="1" kern="0" dirty="0">
                    <a:solidFill>
                      <a:schemeClr val="bg1"/>
                    </a:solidFill>
                    <a:latin typeface="ACHS Nueva Sans SemiBold" pitchFamily="2" charset="77"/>
                  </a:rPr>
                  <a:t>5</a:t>
                </a: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="" xmlns:a16="http://schemas.microsoft.com/office/drawing/2014/main" id="{FEB503DB-5D71-AF45-98A5-D9975B91B885}"/>
                  </a:ext>
                </a:extLst>
              </p:cNvPr>
              <p:cNvSpPr/>
              <p:nvPr/>
            </p:nvSpPr>
            <p:spPr>
              <a:xfrm>
                <a:off x="1307734" y="4049525"/>
                <a:ext cx="1566454" cy="292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r>
                  <a:rPr lang="es-CL" sz="1300" kern="0" dirty="0">
                    <a:solidFill>
                      <a:srgbClr val="15C047"/>
                    </a:solidFill>
                    <a:latin typeface="ACHS Nueva Sans Medium" pitchFamily="2" charset="77"/>
                  </a:rPr>
                  <a:t>Traje para el agua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="" xmlns:a16="http://schemas.microsoft.com/office/drawing/2014/main" id="{829D348C-AAAB-0A4F-9F90-81D0FD1FFB52}"/>
                </a:ext>
              </a:extLst>
            </p:cNvPr>
            <p:cNvGrpSpPr/>
            <p:nvPr/>
          </p:nvGrpSpPr>
          <p:grpSpPr>
            <a:xfrm>
              <a:off x="4339177" y="2279821"/>
              <a:ext cx="3572298" cy="755195"/>
              <a:chOff x="3182926" y="5568619"/>
              <a:chExt cx="3572298" cy="755195"/>
            </a:xfrm>
          </p:grpSpPr>
          <p:sp>
            <p:nvSpPr>
              <p:cNvPr id="73" name="Google Shape;1428;p39">
                <a:extLst>
                  <a:ext uri="{FF2B5EF4-FFF2-40B4-BE49-F238E27FC236}">
                    <a16:creationId xmlns="" xmlns:a16="http://schemas.microsoft.com/office/drawing/2014/main" id="{F94E75B8-93D4-0949-9485-3308F1F8988F}"/>
                  </a:ext>
                </a:extLst>
              </p:cNvPr>
              <p:cNvSpPr/>
              <p:nvPr/>
            </p:nvSpPr>
            <p:spPr>
              <a:xfrm>
                <a:off x="3560523" y="5572333"/>
                <a:ext cx="319470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74" name="Google Shape;1431;p39">
                <a:extLst>
                  <a:ext uri="{FF2B5EF4-FFF2-40B4-BE49-F238E27FC236}">
                    <a16:creationId xmlns="" xmlns:a16="http://schemas.microsoft.com/office/drawing/2014/main" id="{6A937D08-1C36-6F46-A493-C2751DDC7D35}"/>
                  </a:ext>
                </a:extLst>
              </p:cNvPr>
              <p:cNvSpPr/>
              <p:nvPr/>
            </p:nvSpPr>
            <p:spPr>
              <a:xfrm>
                <a:off x="3182926" y="5568619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="" xmlns:a16="http://schemas.microsoft.com/office/drawing/2014/main" id="{9C6522C0-6E60-9940-9315-BB6523382687}"/>
                </a:ext>
              </a:extLst>
            </p:cNvPr>
            <p:cNvGrpSpPr/>
            <p:nvPr/>
          </p:nvGrpSpPr>
          <p:grpSpPr>
            <a:xfrm>
              <a:off x="8206178" y="2279523"/>
              <a:ext cx="3572298" cy="755195"/>
              <a:chOff x="3182926" y="5568619"/>
              <a:chExt cx="3572298" cy="755195"/>
            </a:xfrm>
          </p:grpSpPr>
          <p:sp>
            <p:nvSpPr>
              <p:cNvPr id="76" name="Google Shape;1428;p39">
                <a:extLst>
                  <a:ext uri="{FF2B5EF4-FFF2-40B4-BE49-F238E27FC236}">
                    <a16:creationId xmlns="" xmlns:a16="http://schemas.microsoft.com/office/drawing/2014/main" id="{1B83FA29-9774-5743-8DEB-6F59F995EEE3}"/>
                  </a:ext>
                </a:extLst>
              </p:cNvPr>
              <p:cNvSpPr/>
              <p:nvPr/>
            </p:nvSpPr>
            <p:spPr>
              <a:xfrm>
                <a:off x="3560523" y="5572333"/>
                <a:ext cx="319470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77" name="Google Shape;1431;p39">
                <a:extLst>
                  <a:ext uri="{FF2B5EF4-FFF2-40B4-BE49-F238E27FC236}">
                    <a16:creationId xmlns="" xmlns:a16="http://schemas.microsoft.com/office/drawing/2014/main" id="{68DE4566-BBA0-6D49-A9A9-CA3A778C9D38}"/>
                  </a:ext>
                </a:extLst>
              </p:cNvPr>
              <p:cNvSpPr/>
              <p:nvPr/>
            </p:nvSpPr>
            <p:spPr>
              <a:xfrm>
                <a:off x="3182926" y="5568619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="" xmlns:a16="http://schemas.microsoft.com/office/drawing/2014/main" id="{D429ED87-1A6D-AC44-835D-21B73C4D0DAA}"/>
                </a:ext>
              </a:extLst>
            </p:cNvPr>
            <p:cNvGrpSpPr/>
            <p:nvPr/>
          </p:nvGrpSpPr>
          <p:grpSpPr>
            <a:xfrm>
              <a:off x="8206178" y="3815274"/>
              <a:ext cx="3572298" cy="755195"/>
              <a:chOff x="3182926" y="5568619"/>
              <a:chExt cx="3572298" cy="755195"/>
            </a:xfrm>
          </p:grpSpPr>
          <p:sp>
            <p:nvSpPr>
              <p:cNvPr id="79" name="Google Shape;1428;p39">
                <a:extLst>
                  <a:ext uri="{FF2B5EF4-FFF2-40B4-BE49-F238E27FC236}">
                    <a16:creationId xmlns="" xmlns:a16="http://schemas.microsoft.com/office/drawing/2014/main" id="{2D72DF4B-CD96-7C4D-80A3-6B2673BF9407}"/>
                  </a:ext>
                </a:extLst>
              </p:cNvPr>
              <p:cNvSpPr/>
              <p:nvPr/>
            </p:nvSpPr>
            <p:spPr>
              <a:xfrm>
                <a:off x="3560523" y="5572333"/>
                <a:ext cx="3194701" cy="751481"/>
              </a:xfrm>
              <a:prstGeom prst="rect">
                <a:avLst/>
              </a:prstGeom>
              <a:solidFill>
                <a:srgbClr val="E9EADD"/>
              </a:solidFill>
              <a:ln>
                <a:noFill/>
              </a:ln>
            </p:spPr>
            <p:txBody>
              <a:bodyPr spcFirstLastPara="1" wrap="square" lIns="900000" tIns="0" rIns="0" bIns="0" anchor="ctr" anchorCtr="0">
                <a:no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endParaRPr lang="es-CL" sz="1400" kern="0" dirty="0">
                  <a:solidFill>
                    <a:srgbClr val="15C047"/>
                  </a:solidFill>
                  <a:latin typeface="ACHS Nueva Sans Medium" pitchFamily="2" charset="77"/>
                </a:endParaRPr>
              </a:p>
            </p:txBody>
          </p:sp>
          <p:sp>
            <p:nvSpPr>
              <p:cNvPr id="80" name="Google Shape;1431;p39">
                <a:extLst>
                  <a:ext uri="{FF2B5EF4-FFF2-40B4-BE49-F238E27FC236}">
                    <a16:creationId xmlns="" xmlns:a16="http://schemas.microsoft.com/office/drawing/2014/main" id="{1B9A59EA-3C11-0D4D-8204-EE4663456E36}"/>
                  </a:ext>
                </a:extLst>
              </p:cNvPr>
              <p:cNvSpPr/>
              <p:nvPr/>
            </p:nvSpPr>
            <p:spPr>
              <a:xfrm>
                <a:off x="3182926" y="5568619"/>
                <a:ext cx="755195" cy="755195"/>
              </a:xfrm>
              <a:prstGeom prst="ellipse">
                <a:avLst/>
              </a:prstGeom>
              <a:solidFill>
                <a:srgbClr val="15BF45"/>
              </a:solidFill>
              <a:ln>
                <a:noFill/>
              </a:ln>
            </p:spPr>
            <p:txBody>
              <a:bodyPr spcFirstLastPara="1" wrap="square" lIns="72000" tIns="72000" rIns="72000" bIns="72000" anchor="t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F3F3F"/>
                  </a:buClr>
                  <a:buSzPts val="1200"/>
                  <a:buFont typeface="Arial"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81" name="Marcador de texto 31">
              <a:extLst>
                <a:ext uri="{FF2B5EF4-FFF2-40B4-BE49-F238E27FC236}">
                  <a16:creationId xmlns="" xmlns:a16="http://schemas.microsoft.com/office/drawing/2014/main" id="{DFF9E842-97AC-904F-B168-9AF03C0FB92D}"/>
                </a:ext>
              </a:extLst>
            </p:cNvPr>
            <p:cNvSpPr txBox="1">
              <a:spLocks/>
            </p:cNvSpPr>
            <p:nvPr/>
          </p:nvSpPr>
          <p:spPr>
            <a:xfrm>
              <a:off x="1202891" y="2898975"/>
              <a:ext cx="2580842" cy="486969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524" kern="0" dirty="0">
                  <a:solidFill>
                    <a:schemeClr val="bg1"/>
                  </a:solidFill>
                </a:rPr>
                <a:t>Casco de seguridad 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524" kern="0" dirty="0">
                  <a:solidFill>
                    <a:schemeClr val="bg1"/>
                  </a:solidFill>
                </a:rPr>
                <a:t>con barbiquejo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524" kern="0" dirty="0">
                <a:solidFill>
                  <a:schemeClr val="bg1"/>
                </a:solidFill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524" kern="0" dirty="0">
                <a:solidFill>
                  <a:schemeClr val="bg1"/>
                </a:solidFill>
              </a:endParaRPr>
            </a:p>
          </p:txBody>
        </p:sp>
        <p:sp>
          <p:nvSpPr>
            <p:cNvPr id="82" name="Google Shape;1428;p39">
              <a:extLst>
                <a:ext uri="{FF2B5EF4-FFF2-40B4-BE49-F238E27FC236}">
                  <a16:creationId xmlns="" xmlns:a16="http://schemas.microsoft.com/office/drawing/2014/main" id="{F180F576-CE14-AC41-BFFC-40BA0A49F184}"/>
                </a:ext>
              </a:extLst>
            </p:cNvPr>
            <p:cNvSpPr/>
            <p:nvPr/>
          </p:nvSpPr>
          <p:spPr>
            <a:xfrm>
              <a:off x="733459" y="2283237"/>
              <a:ext cx="3194701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83" name="Google Shape;1431;p39">
              <a:extLst>
                <a:ext uri="{FF2B5EF4-FFF2-40B4-BE49-F238E27FC236}">
                  <a16:creationId xmlns="" xmlns:a16="http://schemas.microsoft.com/office/drawing/2014/main" id="{BA0F50EB-4FC5-2742-A81B-FD43189A69DF}"/>
                </a:ext>
              </a:extLst>
            </p:cNvPr>
            <p:cNvSpPr/>
            <p:nvPr/>
          </p:nvSpPr>
          <p:spPr>
            <a:xfrm>
              <a:off x="430116" y="2279821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Marcador de texto 31">
              <a:extLst>
                <a:ext uri="{FF2B5EF4-FFF2-40B4-BE49-F238E27FC236}">
                  <a16:creationId xmlns="" xmlns:a16="http://schemas.microsoft.com/office/drawing/2014/main" id="{F83CB495-5B2F-7D43-8C35-EAF66E950C51}"/>
                </a:ext>
              </a:extLst>
            </p:cNvPr>
            <p:cNvSpPr txBox="1">
              <a:spLocks/>
            </p:cNvSpPr>
            <p:nvPr/>
          </p:nvSpPr>
          <p:spPr>
            <a:xfrm>
              <a:off x="604953" y="2312005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1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="" xmlns:a16="http://schemas.microsoft.com/office/drawing/2014/main" id="{CC0A9AE4-6C01-5E40-B952-7053A7D123A7}"/>
                </a:ext>
              </a:extLst>
            </p:cNvPr>
            <p:cNvSpPr/>
            <p:nvPr/>
          </p:nvSpPr>
          <p:spPr>
            <a:xfrm>
              <a:off x="1269217" y="2430745"/>
              <a:ext cx="2113082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Casco de seguridad </a:t>
              </a:r>
            </a:p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con barbiquejo</a:t>
              </a:r>
            </a:p>
          </p:txBody>
        </p:sp>
        <p:sp>
          <p:nvSpPr>
            <p:cNvPr id="86" name="Marcador de texto 31">
              <a:extLst>
                <a:ext uri="{FF2B5EF4-FFF2-40B4-BE49-F238E27FC236}">
                  <a16:creationId xmlns="" xmlns:a16="http://schemas.microsoft.com/office/drawing/2014/main" id="{476C57C7-B81F-024A-A561-52E8C311F2F8}"/>
                </a:ext>
              </a:extLst>
            </p:cNvPr>
            <p:cNvSpPr txBox="1">
              <a:spLocks/>
            </p:cNvSpPr>
            <p:nvPr/>
          </p:nvSpPr>
          <p:spPr>
            <a:xfrm>
              <a:off x="4456225" y="2335659"/>
              <a:ext cx="45455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2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="" xmlns:a16="http://schemas.microsoft.com/office/drawing/2014/main" id="{C9C2C6BE-4110-1347-B993-F7EC8849B545}"/>
                </a:ext>
              </a:extLst>
            </p:cNvPr>
            <p:cNvSpPr/>
            <p:nvPr/>
          </p:nvSpPr>
          <p:spPr>
            <a:xfrm>
              <a:off x="5179363" y="2430744"/>
              <a:ext cx="2734208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Guantes de cuero reforzados        en el palmar</a:t>
              </a:r>
            </a:p>
          </p:txBody>
        </p:sp>
        <p:sp>
          <p:nvSpPr>
            <p:cNvPr id="88" name="Marcador de texto 31">
              <a:extLst>
                <a:ext uri="{FF2B5EF4-FFF2-40B4-BE49-F238E27FC236}">
                  <a16:creationId xmlns="" xmlns:a16="http://schemas.microsoft.com/office/drawing/2014/main" id="{20D27787-6DFC-534A-8847-463B00A0F9A1}"/>
                </a:ext>
              </a:extLst>
            </p:cNvPr>
            <p:cNvSpPr txBox="1">
              <a:spLocks/>
            </p:cNvSpPr>
            <p:nvPr/>
          </p:nvSpPr>
          <p:spPr>
            <a:xfrm>
              <a:off x="8326148" y="2335658"/>
              <a:ext cx="45455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3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="" xmlns:a16="http://schemas.microsoft.com/office/drawing/2014/main" id="{A9F192A7-5376-0345-81F9-16C5C8126939}"/>
                </a:ext>
              </a:extLst>
            </p:cNvPr>
            <p:cNvSpPr/>
            <p:nvPr/>
          </p:nvSpPr>
          <p:spPr>
            <a:xfrm>
              <a:off x="9054576" y="2430744"/>
              <a:ext cx="2343969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Botas de cuero o goma, con puntera de acero y clavos</a:t>
              </a:r>
            </a:p>
          </p:txBody>
        </p:sp>
        <p:sp>
          <p:nvSpPr>
            <p:cNvPr id="90" name="Marcador de texto 31">
              <a:extLst>
                <a:ext uri="{FF2B5EF4-FFF2-40B4-BE49-F238E27FC236}">
                  <a16:creationId xmlns="" xmlns:a16="http://schemas.microsoft.com/office/drawing/2014/main" id="{DD14A7AD-A9DA-944B-AB67-62F731E5A480}"/>
                </a:ext>
              </a:extLst>
            </p:cNvPr>
            <p:cNvSpPr txBox="1">
              <a:spLocks/>
            </p:cNvSpPr>
            <p:nvPr/>
          </p:nvSpPr>
          <p:spPr>
            <a:xfrm>
              <a:off x="8290951" y="3861898"/>
              <a:ext cx="45455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6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="" xmlns:a16="http://schemas.microsoft.com/office/drawing/2014/main" id="{A32F1CF7-B1ED-E04D-9751-8FEFDBE1361F}"/>
                </a:ext>
              </a:extLst>
            </p:cNvPr>
            <p:cNvSpPr/>
            <p:nvPr/>
          </p:nvSpPr>
          <p:spPr>
            <a:xfrm>
              <a:off x="9068714" y="3962461"/>
              <a:ext cx="2498656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4B54"/>
                </a:buClr>
                <a:buSzPct val="100000"/>
              </a:pPr>
              <a:r>
                <a:rPr lang="es-CL" sz="1300" kern="0" dirty="0">
                  <a:solidFill>
                    <a:srgbClr val="15C047"/>
                  </a:solidFill>
                  <a:latin typeface="ACHS Nueva Sans Medium" pitchFamily="2" charset="77"/>
                </a:rPr>
                <a:t>Protección visual con UV y/o malla de protección facial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="" xmlns:a16="http://schemas.microsoft.com/office/drawing/2014/main" id="{3EA3DE7B-7FE3-5B42-930A-7E962A3F7EA2}"/>
                </a:ext>
              </a:extLst>
            </p:cNvPr>
            <p:cNvGrpSpPr/>
            <p:nvPr/>
          </p:nvGrpSpPr>
          <p:grpSpPr>
            <a:xfrm>
              <a:off x="4310645" y="5366149"/>
              <a:ext cx="3572298" cy="755195"/>
              <a:chOff x="415112" y="3815275"/>
              <a:chExt cx="3572298" cy="755195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="" xmlns:a16="http://schemas.microsoft.com/office/drawing/2014/main" id="{A8779DA5-FF55-304C-8180-265D26D469F8}"/>
                  </a:ext>
                </a:extLst>
              </p:cNvPr>
              <p:cNvGrpSpPr/>
              <p:nvPr/>
            </p:nvGrpSpPr>
            <p:grpSpPr>
              <a:xfrm>
                <a:off x="415112" y="3815275"/>
                <a:ext cx="3572298" cy="755195"/>
                <a:chOff x="3182926" y="5568619"/>
                <a:chExt cx="3572298" cy="755195"/>
              </a:xfrm>
            </p:grpSpPr>
            <p:sp>
              <p:nvSpPr>
                <p:cNvPr id="97" name="Google Shape;1428;p39">
                  <a:extLst>
                    <a:ext uri="{FF2B5EF4-FFF2-40B4-BE49-F238E27FC236}">
                      <a16:creationId xmlns="" xmlns:a16="http://schemas.microsoft.com/office/drawing/2014/main" id="{DDAD00A4-B2FD-0844-97E3-5954C3E990C6}"/>
                    </a:ext>
                  </a:extLst>
                </p:cNvPr>
                <p:cNvSpPr/>
                <p:nvPr/>
              </p:nvSpPr>
              <p:spPr>
                <a:xfrm>
                  <a:off x="3560523" y="5572333"/>
                  <a:ext cx="3194701" cy="751481"/>
                </a:xfrm>
                <a:prstGeom prst="rect">
                  <a:avLst/>
                </a:prstGeom>
                <a:solidFill>
                  <a:srgbClr val="E9EADD"/>
                </a:solidFill>
                <a:ln>
                  <a:noFill/>
                </a:ln>
              </p:spPr>
              <p:txBody>
                <a:bodyPr spcFirstLastPara="1" wrap="square" lIns="900000" tIns="0" rIns="0" bIns="0" anchor="ctr" anchorCtr="0">
                  <a:noAutofit/>
                </a:bodyPr>
                <a:lstStyle/>
                <a:p>
                  <a:pPr>
                    <a:buClr>
                      <a:srgbClr val="004B54"/>
                    </a:buClr>
                    <a:buSzPct val="100000"/>
                  </a:pPr>
                  <a:endParaRPr lang="es-CL" sz="1400" kern="0" dirty="0">
                    <a:solidFill>
                      <a:srgbClr val="15C047"/>
                    </a:solidFill>
                    <a:latin typeface="ACHS Nueva Sans Medium" pitchFamily="2" charset="77"/>
                  </a:endParaRPr>
                </a:p>
              </p:txBody>
            </p:sp>
            <p:sp>
              <p:nvSpPr>
                <p:cNvPr id="98" name="Google Shape;1431;p39">
                  <a:extLst>
                    <a:ext uri="{FF2B5EF4-FFF2-40B4-BE49-F238E27FC236}">
                      <a16:creationId xmlns="" xmlns:a16="http://schemas.microsoft.com/office/drawing/2014/main" id="{6B2F6F72-0560-C841-83FF-803D9291FD38}"/>
                    </a:ext>
                  </a:extLst>
                </p:cNvPr>
                <p:cNvSpPr/>
                <p:nvPr/>
              </p:nvSpPr>
              <p:spPr>
                <a:xfrm>
                  <a:off x="3182926" y="5568619"/>
                  <a:ext cx="755195" cy="755195"/>
                </a:xfrm>
                <a:prstGeom prst="ellipse">
                  <a:avLst/>
                </a:prstGeom>
                <a:solidFill>
                  <a:srgbClr val="15BF45"/>
                </a:solidFill>
                <a:ln>
                  <a:noFill/>
                </a:ln>
              </p:spPr>
              <p:txBody>
                <a:bodyPr spcFirstLastPara="1" wrap="square" lIns="72000" tIns="72000" rIns="72000" bIns="72000" anchor="t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3F3F3F"/>
                    </a:buClr>
                    <a:buSzPts val="1200"/>
                    <a:buFont typeface="Arial"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95" name="Marcador de texto 31">
                <a:extLst>
                  <a:ext uri="{FF2B5EF4-FFF2-40B4-BE49-F238E27FC236}">
                    <a16:creationId xmlns="" xmlns:a16="http://schemas.microsoft.com/office/drawing/2014/main" id="{05180270-755E-934C-A73F-D7841014B45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9163" y="3875184"/>
                <a:ext cx="454551" cy="607041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99600" marR="0" indent="-399600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1pPr>
                <a:lvl2pPr marL="1465196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2pPr>
                <a:lvl3pPr marL="1864794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3pPr>
                <a:lvl4pPr marL="2264393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4pPr>
                <a:lvl5pPr marL="2663992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•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5pPr>
                <a:lvl6pPr marL="2963690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6pPr>
                <a:lvl7pPr marL="32633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7pPr>
                <a:lvl8pPr marL="3563089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8pPr>
                <a:lvl9pPr marL="3862787" marR="0" indent="-1065596" algn="l" defTabSz="1597354" eaLnBrk="1" latinLnBrk="0" hangingPunct="1">
                  <a:lnSpc>
                    <a:spcPct val="90000"/>
                  </a:lnSpc>
                  <a:spcBef>
                    <a:spcPts val="2949"/>
                  </a:spcBef>
                  <a:spcAft>
                    <a:spcPts val="0"/>
                  </a:spcAft>
                  <a:buClrTx/>
                  <a:buSzPct val="123000"/>
                  <a:buFontTx/>
                  <a:buChar char=""/>
                  <a:tabLst/>
                  <a:defRPr sz="3145" b="0" i="0" u="none" strike="noStrike" cap="none" spc="0" baseline="0">
                    <a:solidFill>
                      <a:srgbClr val="000000"/>
                    </a:solidFill>
                    <a:uFillTx/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r>
                  <a:rPr lang="es-CL" sz="4800" b="1" kern="0" dirty="0">
                    <a:solidFill>
                      <a:schemeClr val="bg1"/>
                    </a:solidFill>
                    <a:latin typeface="ACHS Nueva Sans SemiBold" pitchFamily="2" charset="77"/>
                  </a:rPr>
                  <a:t>7</a:t>
                </a:r>
              </a:p>
              <a:p>
                <a:pPr marL="0" indent="0">
                  <a:spcBef>
                    <a:spcPts val="0"/>
                  </a:spcBef>
                  <a:buClr>
                    <a:srgbClr val="004B54"/>
                  </a:buClr>
                  <a:buSzPct val="100000"/>
                  <a:buNone/>
                </a:pPr>
                <a:endParaRPr lang="es-CL" sz="4800" b="1" kern="0" dirty="0">
                  <a:solidFill>
                    <a:schemeClr val="bg1"/>
                  </a:solidFill>
                  <a:latin typeface="ACHS Nueva Sans SemiBold" pitchFamily="2" charset="77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="" xmlns:a16="http://schemas.microsoft.com/office/drawing/2014/main" id="{E314943F-7F7E-8242-9C04-AD04CDB8FB1B}"/>
                  </a:ext>
                </a:extLst>
              </p:cNvPr>
              <p:cNvSpPr/>
              <p:nvPr/>
            </p:nvSpPr>
            <p:spPr>
              <a:xfrm>
                <a:off x="1307734" y="4049525"/>
                <a:ext cx="1725152" cy="292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buClr>
                    <a:srgbClr val="004B54"/>
                  </a:buClr>
                  <a:buSzPct val="100000"/>
                </a:pPr>
                <a:r>
                  <a:rPr lang="es-CL" sz="1300" kern="0" dirty="0">
                    <a:solidFill>
                      <a:srgbClr val="15C047"/>
                    </a:solidFill>
                    <a:latin typeface="ACHS Nueva Sans Medium" pitchFamily="2" charset="77"/>
                  </a:rPr>
                  <a:t>Protección auditiva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5721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23613477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1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227728"/>
              </p:ext>
            </p:extLst>
          </p:nvPr>
        </p:nvGraphicFramePr>
        <p:xfrm>
          <a:off x="1344180" y="1069881"/>
          <a:ext cx="9657842" cy="55323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89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289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39753">
                <a:tc>
                  <a:txBody>
                    <a:bodyPr/>
                    <a:lstStyle/>
                    <a:p>
                      <a:r>
                        <a:rPr lang="es-CL" sz="1600" b="0" i="0" dirty="0">
                          <a:latin typeface="ACHS Nueva Serif" pitchFamily="2" charset="77"/>
                        </a:rPr>
                        <a:t>SITUACIÓN DE PELIGRO</a:t>
                      </a:r>
                    </a:p>
                  </a:txBody>
                  <a:tcPr marL="69669" marR="69669" marT="34834" marB="34834" anchor="ctr">
                    <a:solidFill>
                      <a:srgbClr val="15C0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L" sz="1600" b="0" i="0" dirty="0">
                          <a:latin typeface="ACHS Nueva Serif" pitchFamily="2" charset="77"/>
                        </a:rPr>
                        <a:t>INCIDENTE</a:t>
                      </a:r>
                    </a:p>
                  </a:txBody>
                  <a:tcPr marL="69669" marR="69669" marT="34834" marB="34834" anchor="ctr">
                    <a:solidFill>
                      <a:srgbClr val="15C04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No uso de protección visual en estrobado y corte                     de cable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ramas.</a:t>
                      </a:r>
                    </a:p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Proyección de esquirlas de cable a los ojos y cara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Desplazarse cercano a máquina.</a:t>
                      </a: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Atropello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Estrobos tensionados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 por estrobo y rama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Beber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agua de cursos de agua en el bosque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Exposición a agente biológico (virus hanta). Hepatiti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Ubicarse pendiente abajo a menos de la distancia de seguridad definida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por árbole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 err="1">
                          <a:latin typeface="ACHS Nueva Sans Medium" pitchFamily="2" charset="77"/>
                        </a:rPr>
                        <a:t>Desestrobar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con máquina en movimiento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por árboles </a:t>
                      </a:r>
                      <a:r>
                        <a:rPr lang="es-CL" sz="1400" b="0" i="0" spc="0" dirty="0" err="1">
                          <a:effectLst/>
                          <a:latin typeface="ACHS Nueva Sans Medium" pitchFamily="2" charset="77"/>
                        </a:rPr>
                        <a:t>estrobados</a:t>
                      </a: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 y cable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 err="1">
                          <a:latin typeface="ACHS Nueva Sans Medium" pitchFamily="2" charset="77"/>
                        </a:rPr>
                        <a:t>Estrobar</a:t>
                      </a:r>
                      <a:r>
                        <a:rPr lang="es-CL" sz="1400" b="0" i="0" dirty="0">
                          <a:latin typeface="ACHS Nueva Sans Medium" pitchFamily="2" charset="77"/>
                        </a:rPr>
                        <a:t> cercano a zona de volteo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por árbole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Sobrecargar la carga de arrastre del </a:t>
                      </a:r>
                      <a:r>
                        <a:rPr lang="es-CL" sz="1400" b="0" i="0" dirty="0" err="1">
                          <a:latin typeface="ACHS Nueva Sans Medium" pitchFamily="2" charset="77"/>
                        </a:rPr>
                        <a:t>skidder</a:t>
                      </a:r>
                      <a:r>
                        <a:rPr lang="es-CL" sz="1400" b="0" i="0" dirty="0">
                          <a:latin typeface="ACHS Nueva Sans Medium" pitchFamily="2" charset="77"/>
                        </a:rPr>
                        <a:t>.</a:t>
                      </a: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s por proyección de cables y estrob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>
                          <a:latin typeface="ACHS Nueva Sans Medium" pitchFamily="2" charset="77"/>
                        </a:rPr>
                        <a:t>Cables y estrobos con hebras cortadas.</a:t>
                      </a: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Contacto con objetos punzantes en las man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663750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 err="1">
                          <a:latin typeface="ACHS Nueva Sans Medium" pitchFamily="2" charset="77"/>
                        </a:rPr>
                        <a:t>Estrobar</a:t>
                      </a:r>
                      <a:r>
                        <a:rPr lang="es-CL" sz="1400" b="0" i="0" dirty="0">
                          <a:latin typeface="ACHS Nueva Sans Medium" pitchFamily="2" charset="77"/>
                        </a:rPr>
                        <a:t> o circular pendiente debajo de cancha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con máquinas operando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F4F4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proyección de desecho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F4F4E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75163">
                <a:tc>
                  <a:txBody>
                    <a:bodyPr/>
                    <a:lstStyle/>
                    <a:p>
                      <a:pPr algn="l"/>
                      <a:r>
                        <a:rPr lang="es-CL" sz="1400" b="0" i="0" dirty="0" err="1">
                          <a:latin typeface="ACHS Nueva Sans Medium" pitchFamily="2" charset="77"/>
                        </a:rPr>
                        <a:t>Estrobar</a:t>
                      </a:r>
                      <a:r>
                        <a:rPr lang="es-CL" sz="1400" b="0" i="0" dirty="0">
                          <a:latin typeface="ACHS Nueva Sans Medium" pitchFamily="2" charset="77"/>
                        </a:rPr>
                        <a:t> cercano</a:t>
                      </a:r>
                      <a:r>
                        <a:rPr lang="es-CL" sz="1400" b="0" i="0" baseline="0" dirty="0">
                          <a:latin typeface="ACHS Nueva Sans Medium" pitchFamily="2" charset="77"/>
                        </a:rPr>
                        <a:t> a bosque con viento fuerte.</a:t>
                      </a:r>
                      <a:endParaRPr lang="es-CL" sz="1400" b="0" i="0" dirty="0">
                        <a:latin typeface="ACHS Nueva Sans Medium" pitchFamily="2" charset="77"/>
                      </a:endParaRPr>
                    </a:p>
                  </a:txBody>
                  <a:tcPr marL="69669" marR="69669" marT="34834" marB="34834" anchor="ctr">
                    <a:solidFill>
                      <a:srgbClr val="EAEAD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es-CL" sz="1400" b="0" i="0" spc="0" dirty="0">
                          <a:effectLst/>
                          <a:latin typeface="ACHS Nueva Sans Medium" pitchFamily="2" charset="77"/>
                        </a:rPr>
                        <a:t>Golpeado por árboles y ramas.</a:t>
                      </a:r>
                      <a:endParaRPr lang="es-CL" sz="1400" b="0" i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CHS Nueva Sans Medium" pitchFamily="2" charset="77"/>
                        <a:ea typeface="Times New Roman"/>
                        <a:cs typeface="Catamaran Light" panose="00000400000000000000" pitchFamily="2" charset="0"/>
                      </a:endParaRPr>
                    </a:p>
                  </a:txBody>
                  <a:tcPr marL="29986" marR="29986" marT="0" marB="0" anchor="ctr">
                    <a:solidFill>
                      <a:srgbClr val="EAEAD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9359C1E3-7057-8F42-8C0B-153BF5D11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00" y="534186"/>
            <a:ext cx="3400362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Situaciones de peligro</a:t>
            </a:r>
          </a:p>
        </p:txBody>
      </p:sp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76516C70-4348-3945-9B65-6688D3F7EC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E95B6837-BF7B-1448-B93A-56B1E8267D41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86557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0819979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3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ítulo 30">
            <a:extLst>
              <a:ext uri="{FF2B5EF4-FFF2-40B4-BE49-F238E27FC236}">
                <a16:creationId xmlns="" xmlns:a16="http://schemas.microsoft.com/office/drawing/2014/main" id="{A22B1BCE-92EA-D040-A504-FB57CF1AD015}"/>
              </a:ext>
            </a:extLst>
          </p:cNvPr>
          <p:cNvSpPr txBox="1">
            <a:spLocks/>
          </p:cNvSpPr>
          <p:nvPr/>
        </p:nvSpPr>
        <p:spPr>
          <a:xfrm>
            <a:off x="608200" y="534186"/>
            <a:ext cx="43913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>
                <a:solidFill>
                  <a:srgbClr val="15C047"/>
                </a:solidFill>
                <a:latin typeface="ACHS Nueva Serif" pitchFamily="2" charset="77"/>
              </a:rPr>
              <a:t>Técnicas de estrobado</a:t>
            </a:r>
            <a:endParaRPr lang="es-CL" sz="2000" dirty="0">
              <a:solidFill>
                <a:srgbClr val="15C047"/>
              </a:solidFill>
              <a:latin typeface="ACHS Nueva Serif" pitchFamily="2" charset="77"/>
            </a:endParaRPr>
          </a:p>
        </p:txBody>
      </p:sp>
      <p:sp>
        <p:nvSpPr>
          <p:cNvPr id="27" name="Marcador de texto 31">
            <a:extLst>
              <a:ext uri="{FF2B5EF4-FFF2-40B4-BE49-F238E27FC236}">
                <a16:creationId xmlns="" xmlns:a16="http://schemas.microsoft.com/office/drawing/2014/main" id="{10C16F89-5654-D449-B5E6-B398DF4923AC}"/>
              </a:ext>
            </a:extLst>
          </p:cNvPr>
          <p:cNvSpPr txBox="1">
            <a:spLocks/>
          </p:cNvSpPr>
          <p:nvPr/>
        </p:nvSpPr>
        <p:spPr>
          <a:xfrm>
            <a:off x="676792" y="2604079"/>
            <a:ext cx="3256046" cy="141035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Estrobo fuertemente apretado deslizador apegado a la troza y puesto en extremo a no más de 50 cm. de su base, para evitar atascamientos en tocones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9" name="Marcador de texto 31">
            <a:extLst>
              <a:ext uri="{FF2B5EF4-FFF2-40B4-BE49-F238E27FC236}">
                <a16:creationId xmlns="" xmlns:a16="http://schemas.microsoft.com/office/drawing/2014/main" id="{1EF98DB1-4673-CC4C-895D-F58647466B2F}"/>
              </a:ext>
            </a:extLst>
          </p:cNvPr>
          <p:cNvSpPr txBox="1">
            <a:spLocks/>
          </p:cNvSpPr>
          <p:nvPr/>
        </p:nvSpPr>
        <p:spPr>
          <a:xfrm>
            <a:off x="4581070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Hacer rodar el tronco para salvar obstáculos y tener salida más fácil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30" name="Picture 2">
            <a:extLst>
              <a:ext uri="{FF2B5EF4-FFF2-40B4-BE49-F238E27FC236}">
                <a16:creationId xmlns="" xmlns:a16="http://schemas.microsoft.com/office/drawing/2014/main" id="{2E876DEC-8748-CB44-AF81-84CF7CEF1E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5" t="6780" r="6577" b="5077"/>
          <a:stretch/>
        </p:blipFill>
        <p:spPr bwMode="auto">
          <a:xfrm>
            <a:off x="631672" y="4197086"/>
            <a:ext cx="3346286" cy="1593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2" name="Picture 2">
            <a:extLst>
              <a:ext uri="{FF2B5EF4-FFF2-40B4-BE49-F238E27FC236}">
                <a16:creationId xmlns="" xmlns:a16="http://schemas.microsoft.com/office/drawing/2014/main" id="{C7263A83-7DD4-3F47-8053-10D95FCB749F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43" r="4409" b="6912"/>
          <a:stretch/>
        </p:blipFill>
        <p:spPr bwMode="auto">
          <a:xfrm>
            <a:off x="4490830" y="3918952"/>
            <a:ext cx="3346286" cy="1590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3" name="Marcador de texto 31">
            <a:extLst>
              <a:ext uri="{FF2B5EF4-FFF2-40B4-BE49-F238E27FC236}">
                <a16:creationId xmlns="" xmlns:a16="http://schemas.microsoft.com/office/drawing/2014/main" id="{C2760B53-2D57-3746-9A42-90807F0C8B13}"/>
              </a:ext>
            </a:extLst>
          </p:cNvPr>
          <p:cNvSpPr txBox="1">
            <a:spLocks/>
          </p:cNvSpPr>
          <p:nvPr/>
        </p:nvSpPr>
        <p:spPr>
          <a:xfrm>
            <a:off x="8493573" y="2602789"/>
            <a:ext cx="3256046" cy="771348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1400" kern="0" dirty="0">
                <a:solidFill>
                  <a:schemeClr val="tx1"/>
                </a:solidFill>
                <a:latin typeface="ACHS Nueva Sans Medium" pitchFamily="2" charset="77"/>
              </a:rPr>
              <a:t>Cable entre trozo y obstáculo para golpearlo en el costado y/o saltarlo.</a:t>
            </a: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ES" sz="14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47" name="Picture 2">
            <a:extLst>
              <a:ext uri="{FF2B5EF4-FFF2-40B4-BE49-F238E27FC236}">
                <a16:creationId xmlns="" xmlns:a16="http://schemas.microsoft.com/office/drawing/2014/main" id="{05A516DB-22C4-C642-97BD-B17501FC501E}"/>
              </a:ext>
            </a:extLst>
          </p:cNvPr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0066" y="4014430"/>
            <a:ext cx="3491328" cy="1590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8" name="Imagen 5">
            <a:extLst>
              <a:ext uri="{FF2B5EF4-FFF2-40B4-BE49-F238E27FC236}">
                <a16:creationId xmlns="" xmlns:a16="http://schemas.microsoft.com/office/drawing/2014/main" id="{B69EB12C-C1B5-7949-987C-14950A489D6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49" name="Conector recto 6">
            <a:extLst>
              <a:ext uri="{FF2B5EF4-FFF2-40B4-BE49-F238E27FC236}">
                <a16:creationId xmlns="" xmlns:a16="http://schemas.microsoft.com/office/drawing/2014/main" id="{143B7DD9-60A9-3E4C-9250-1628A0884E9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74103283-B8DB-8546-B68C-73C273A312BB}"/>
              </a:ext>
            </a:extLst>
          </p:cNvPr>
          <p:cNvGrpSpPr/>
          <p:nvPr/>
        </p:nvGrpSpPr>
        <p:grpSpPr>
          <a:xfrm>
            <a:off x="577708" y="1621937"/>
            <a:ext cx="3135457" cy="755195"/>
            <a:chOff x="479914" y="1628453"/>
            <a:chExt cx="3135457" cy="755195"/>
          </a:xfrm>
        </p:grpSpPr>
        <p:sp>
          <p:nvSpPr>
            <p:cNvPr id="51" name="Google Shape;1428;p39">
              <a:extLst>
                <a:ext uri="{FF2B5EF4-FFF2-40B4-BE49-F238E27FC236}">
                  <a16:creationId xmlns="" xmlns:a16="http://schemas.microsoft.com/office/drawing/2014/main" id="{CE00499D-179A-6F4A-84B8-275F3BFB3FF7}"/>
                </a:ext>
              </a:extLst>
            </p:cNvPr>
            <p:cNvSpPr/>
            <p:nvPr/>
          </p:nvSpPr>
          <p:spPr>
            <a:xfrm>
              <a:off x="783258" y="1631869"/>
              <a:ext cx="2832113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52" name="Google Shape;1431;p39">
              <a:extLst>
                <a:ext uri="{FF2B5EF4-FFF2-40B4-BE49-F238E27FC236}">
                  <a16:creationId xmlns="" xmlns:a16="http://schemas.microsoft.com/office/drawing/2014/main" id="{9B4A5509-95E3-094C-9A33-E72D5C01A36F}"/>
                </a:ext>
              </a:extLst>
            </p:cNvPr>
            <p:cNvSpPr/>
            <p:nvPr/>
          </p:nvSpPr>
          <p:spPr>
            <a:xfrm>
              <a:off x="479914" y="1628453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Marcador de texto 31">
              <a:extLst>
                <a:ext uri="{FF2B5EF4-FFF2-40B4-BE49-F238E27FC236}">
                  <a16:creationId xmlns="" xmlns:a16="http://schemas.microsoft.com/office/drawing/2014/main" id="{E187B267-B777-6441-9261-F0F84375119D}"/>
                </a:ext>
              </a:extLst>
            </p:cNvPr>
            <p:cNvSpPr txBox="1">
              <a:spLocks/>
            </p:cNvSpPr>
            <p:nvPr/>
          </p:nvSpPr>
          <p:spPr>
            <a:xfrm>
              <a:off x="654751" y="1660637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1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54" name="Marcador de texto 31">
              <a:extLst>
                <a:ext uri="{FF2B5EF4-FFF2-40B4-BE49-F238E27FC236}">
                  <a16:creationId xmlns="" xmlns:a16="http://schemas.microsoft.com/office/drawing/2014/main" id="{CD300551-4F76-6749-BDAA-40D82095B3FD}"/>
                </a:ext>
              </a:extLst>
            </p:cNvPr>
            <p:cNvSpPr txBox="1">
              <a:spLocks/>
            </p:cNvSpPr>
            <p:nvPr/>
          </p:nvSpPr>
          <p:spPr>
            <a:xfrm>
              <a:off x="1289027" y="1866201"/>
              <a:ext cx="1922073" cy="3801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Estrobado normal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88C7978E-E449-4645-B846-DA8BB967B45A}"/>
              </a:ext>
            </a:extLst>
          </p:cNvPr>
          <p:cNvGrpSpPr/>
          <p:nvPr/>
        </p:nvGrpSpPr>
        <p:grpSpPr>
          <a:xfrm>
            <a:off x="4460084" y="1628800"/>
            <a:ext cx="3135458" cy="755195"/>
            <a:chOff x="3967297" y="1625037"/>
            <a:chExt cx="3135458" cy="755195"/>
          </a:xfrm>
        </p:grpSpPr>
        <p:sp>
          <p:nvSpPr>
            <p:cNvPr id="56" name="Google Shape;1428;p39">
              <a:extLst>
                <a:ext uri="{FF2B5EF4-FFF2-40B4-BE49-F238E27FC236}">
                  <a16:creationId xmlns="" xmlns:a16="http://schemas.microsoft.com/office/drawing/2014/main" id="{09C8CA21-ECA7-314D-9138-8DF7F944CA81}"/>
                </a:ext>
              </a:extLst>
            </p:cNvPr>
            <p:cNvSpPr/>
            <p:nvPr/>
          </p:nvSpPr>
          <p:spPr>
            <a:xfrm>
              <a:off x="4270641" y="1628453"/>
              <a:ext cx="2832114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57" name="Google Shape;1431;p39">
              <a:extLst>
                <a:ext uri="{FF2B5EF4-FFF2-40B4-BE49-F238E27FC236}">
                  <a16:creationId xmlns="" xmlns:a16="http://schemas.microsoft.com/office/drawing/2014/main" id="{C7047A21-8D5B-CC44-9FC0-32F0831AEA3E}"/>
                </a:ext>
              </a:extLst>
            </p:cNvPr>
            <p:cNvSpPr/>
            <p:nvPr/>
          </p:nvSpPr>
          <p:spPr>
            <a:xfrm>
              <a:off x="3967297" y="1625037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Marcador de texto 31">
              <a:extLst>
                <a:ext uri="{FF2B5EF4-FFF2-40B4-BE49-F238E27FC236}">
                  <a16:creationId xmlns="" xmlns:a16="http://schemas.microsoft.com/office/drawing/2014/main" id="{58FDBB4B-68A1-344D-A7A9-0D6AE8F232CC}"/>
                </a:ext>
              </a:extLst>
            </p:cNvPr>
            <p:cNvSpPr txBox="1">
              <a:spLocks/>
            </p:cNvSpPr>
            <p:nvPr/>
          </p:nvSpPr>
          <p:spPr>
            <a:xfrm>
              <a:off x="4076035" y="1658252"/>
              <a:ext cx="274316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2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61" name="Marcador de texto 31">
              <a:extLst>
                <a:ext uri="{FF2B5EF4-FFF2-40B4-BE49-F238E27FC236}">
                  <a16:creationId xmlns="" xmlns:a16="http://schemas.microsoft.com/office/drawing/2014/main" id="{EB72D4BB-8F7A-8847-B917-880EDF2A7A13}"/>
                </a:ext>
              </a:extLst>
            </p:cNvPr>
            <p:cNvSpPr txBox="1">
              <a:spLocks/>
            </p:cNvSpPr>
            <p:nvPr/>
          </p:nvSpPr>
          <p:spPr>
            <a:xfrm>
              <a:off x="4770371" y="1866201"/>
              <a:ext cx="2039461" cy="30882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 err="1">
                  <a:solidFill>
                    <a:srgbClr val="15C047"/>
                  </a:solidFill>
                  <a:latin typeface="ACHS Nueva Serif" pitchFamily="2" charset="77"/>
                </a:rPr>
                <a:t>Estrobado</a:t>
              </a: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 rodillo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A01B0ABF-3C30-F94D-B20B-5EF0E185CBF6}"/>
              </a:ext>
            </a:extLst>
          </p:cNvPr>
          <p:cNvGrpSpPr/>
          <p:nvPr/>
        </p:nvGrpSpPr>
        <p:grpSpPr>
          <a:xfrm>
            <a:off x="8289715" y="1628800"/>
            <a:ext cx="3151328" cy="755195"/>
            <a:chOff x="8655987" y="1643018"/>
            <a:chExt cx="3151328" cy="755195"/>
          </a:xfrm>
        </p:grpSpPr>
        <p:sp>
          <p:nvSpPr>
            <p:cNvPr id="63" name="Google Shape;1428;p39">
              <a:extLst>
                <a:ext uri="{FF2B5EF4-FFF2-40B4-BE49-F238E27FC236}">
                  <a16:creationId xmlns="" xmlns:a16="http://schemas.microsoft.com/office/drawing/2014/main" id="{3DC05A35-281E-7746-93CF-CA0E2F95DDB6}"/>
                </a:ext>
              </a:extLst>
            </p:cNvPr>
            <p:cNvSpPr/>
            <p:nvPr/>
          </p:nvSpPr>
          <p:spPr>
            <a:xfrm>
              <a:off x="8959331" y="1646434"/>
              <a:ext cx="2832113" cy="751481"/>
            </a:xfrm>
            <a:prstGeom prst="rect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64" name="Google Shape;1431;p39">
              <a:extLst>
                <a:ext uri="{FF2B5EF4-FFF2-40B4-BE49-F238E27FC236}">
                  <a16:creationId xmlns="" xmlns:a16="http://schemas.microsoft.com/office/drawing/2014/main" id="{202B573E-2E6A-0E44-952F-900CBF7960DD}"/>
                </a:ext>
              </a:extLst>
            </p:cNvPr>
            <p:cNvSpPr/>
            <p:nvPr/>
          </p:nvSpPr>
          <p:spPr>
            <a:xfrm>
              <a:off x="8655987" y="1643018"/>
              <a:ext cx="755195" cy="755195"/>
            </a:xfrm>
            <a:prstGeom prst="ellipse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Marcador de texto 31">
              <a:extLst>
                <a:ext uri="{FF2B5EF4-FFF2-40B4-BE49-F238E27FC236}">
                  <a16:creationId xmlns="" xmlns:a16="http://schemas.microsoft.com/office/drawing/2014/main" id="{7BFB79B0-7DD6-4C4A-AD4C-2DD77476C19B}"/>
                </a:ext>
              </a:extLst>
            </p:cNvPr>
            <p:cNvSpPr txBox="1">
              <a:spLocks/>
            </p:cNvSpPr>
            <p:nvPr/>
          </p:nvSpPr>
          <p:spPr>
            <a:xfrm>
              <a:off x="8755924" y="1679388"/>
              <a:ext cx="587461" cy="6070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4800" b="1" kern="0" dirty="0">
                  <a:solidFill>
                    <a:schemeClr val="bg1"/>
                  </a:solidFill>
                  <a:latin typeface="ACHS Nueva Sans SemiBold" pitchFamily="2" charset="77"/>
                </a:rPr>
                <a:t>3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4800" b="1" kern="0" dirty="0">
                <a:solidFill>
                  <a:schemeClr val="bg1"/>
                </a:solidFill>
                <a:latin typeface="ACHS Nueva Sans SemiBold" pitchFamily="2" charset="77"/>
              </a:endParaRPr>
            </a:p>
          </p:txBody>
        </p:sp>
        <p:sp>
          <p:nvSpPr>
            <p:cNvPr id="66" name="Marcador de texto 31">
              <a:extLst>
                <a:ext uri="{FF2B5EF4-FFF2-40B4-BE49-F238E27FC236}">
                  <a16:creationId xmlns="" xmlns:a16="http://schemas.microsoft.com/office/drawing/2014/main" id="{478EEAF7-9E3D-DA49-8691-F03613B68103}"/>
                </a:ext>
              </a:extLst>
            </p:cNvPr>
            <p:cNvSpPr txBox="1">
              <a:spLocks/>
            </p:cNvSpPr>
            <p:nvPr/>
          </p:nvSpPr>
          <p:spPr>
            <a:xfrm>
              <a:off x="9459061" y="1877021"/>
              <a:ext cx="2348254" cy="30882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9600" marR="0" indent="-399600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1pPr>
              <a:lvl2pPr marL="1465196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1864794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2264393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2663992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963690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32633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3563089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3862787" marR="0" indent="-1065596" algn="l" defTabSz="1597354" eaLnBrk="1" latinLnBrk="0" hangingPunct="1">
                <a:lnSpc>
                  <a:spcPct val="9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3145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r>
                <a:rPr lang="es-CL" sz="1600" kern="0" dirty="0" err="1">
                  <a:solidFill>
                    <a:srgbClr val="15C047"/>
                  </a:solidFill>
                  <a:latin typeface="ACHS Nueva Serif" pitchFamily="2" charset="77"/>
                </a:rPr>
                <a:t>Estrobado</a:t>
              </a:r>
              <a:r>
                <a:rPr lang="es-CL" sz="1600" kern="0" dirty="0">
                  <a:solidFill>
                    <a:srgbClr val="15C047"/>
                  </a:solidFill>
                  <a:latin typeface="ACHS Nueva Serif" pitchFamily="2" charset="77"/>
                </a:rPr>
                <a:t> golpe/salto</a:t>
              </a: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  <a:p>
              <a:pPr marL="0" indent="0">
                <a:spcBef>
                  <a:spcPts val="0"/>
                </a:spcBef>
                <a:buClr>
                  <a:srgbClr val="004B54"/>
                </a:buClr>
                <a:buSzPct val="100000"/>
                <a:buNone/>
              </a:pPr>
              <a:endParaRPr lang="es-CL" sz="1600" kern="0" dirty="0">
                <a:solidFill>
                  <a:srgbClr val="15C047"/>
                </a:solidFill>
                <a:latin typeface="ACHS Nueva Serif" pitchFamily="2" charset="77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2395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22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Quie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E94521-6097-4424-AA83-67EC00D2051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6D8931-DC0D-40CC-BC2A-F5328FC155F1}">
  <ds:schemaRefs>
    <ds:schemaRef ds:uri="http://purl.org/dc/terms/"/>
    <ds:schemaRef ds:uri="c16ff6dc-b593-43ff-bcca-b847aaf00eec"/>
    <ds:schemaRef ds:uri="http://schemas.microsoft.com/office/2006/documentManagement/types"/>
    <ds:schemaRef ds:uri="http://schemas.microsoft.com/office/infopath/2007/PartnerControls"/>
    <ds:schemaRef ds:uri="76aaf195-cc62-486d-835e-a1a076b740bc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A897B66-3FD1-4D63-8424-CB3443B1B94F}"/>
</file>

<file path=docProps/app.xml><?xml version="1.0" encoding="utf-8"?>
<Properties xmlns="http://schemas.openxmlformats.org/officeDocument/2006/extended-properties" xmlns:vt="http://schemas.openxmlformats.org/officeDocument/2006/docPropsVTypes">
  <TotalTime>16034</TotalTime>
  <Words>1225</Words>
  <Application>Microsoft Office PowerPoint</Application>
  <PresentationFormat>Personalizado</PresentationFormat>
  <Paragraphs>270</Paragraphs>
  <Slides>23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18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47" baseType="lpstr">
      <vt:lpstr>.Lucida Grande UI Regular</vt:lpstr>
      <vt:lpstr>ACHS Nueva Sans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</vt:lpstr>
      <vt:lpstr>Helvetica Neue</vt:lpstr>
      <vt:lpstr>Helvetica Neue Medium</vt:lpstr>
      <vt:lpstr>Symbol</vt:lpstr>
      <vt:lpstr>Times New Roman</vt:lpstr>
      <vt:lpstr>Tipo de letra del sistema regular</vt:lpstr>
      <vt:lpstr>Tw Cen MT</vt:lpstr>
      <vt:lpstr>Wingdings</vt:lpstr>
      <vt:lpstr>Quieta</vt:lpstr>
      <vt:lpstr>1_Tema de Office</vt:lpstr>
      <vt:lpstr>1_Custom Design</vt:lpstr>
      <vt:lpstr>2_Tema de Office</vt:lpstr>
      <vt:lpstr>Portadas y cierres_Achs Seguro Laboral</vt:lpstr>
      <vt:lpstr>Diapositiva de think-cell</vt:lpstr>
      <vt:lpstr>Presentación de PowerPoint</vt:lpstr>
      <vt:lpstr>Presentación de PowerPoint</vt:lpstr>
      <vt:lpstr>Introducción: Definiciones</vt:lpstr>
      <vt:lpstr>Introducción: Definiciones</vt:lpstr>
      <vt:lpstr>Equipos y herramientas</vt:lpstr>
      <vt:lpstr>Acople y desacople rápido</vt:lpstr>
      <vt:lpstr>Equipos de protección personal</vt:lpstr>
      <vt:lpstr>Situaciones de peligro</vt:lpstr>
      <vt:lpstr>Presentación de PowerPoint</vt:lpstr>
      <vt:lpstr>Presentación de PowerPoint</vt:lpstr>
      <vt:lpstr>Presentación de PowerPoint</vt:lpstr>
      <vt:lpstr>Señales visuales</vt:lpstr>
      <vt:lpstr>Señales visuales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Operación de estrobado y desestrob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slie</dc:creator>
  <cp:lastModifiedBy>Saldaño Carreño, Carlos Antonio</cp:lastModifiedBy>
  <cp:revision>548</cp:revision>
  <dcterms:created xsi:type="dcterms:W3CDTF">2018-04-16T12:09:27Z</dcterms:created>
  <dcterms:modified xsi:type="dcterms:W3CDTF">2025-02-04T17:0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0E61E698-B49D-4802-8D1C-44707812E8C5</vt:lpwstr>
  </property>
  <property fmtid="{D5CDD505-2E9C-101B-9397-08002B2CF9AE}" pid="4" name="ArticulatePath">
    <vt:lpwstr>Charla_AM_Estrobero_de_tractores_de_madereo</vt:lpwstr>
  </property>
  <property fmtid="{D5CDD505-2E9C-101B-9397-08002B2CF9AE}" pid="5" name="MediaServiceImageTags">
    <vt:lpwstr/>
  </property>
</Properties>
</file>